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1"/>
  </p:notesMasterIdLst>
  <p:handoutMasterIdLst>
    <p:handoutMasterId r:id="rId22"/>
  </p:handoutMasterIdLst>
  <p:sldIdLst>
    <p:sldId id="256" r:id="rId3"/>
    <p:sldId id="364" r:id="rId4"/>
    <p:sldId id="367" r:id="rId5"/>
    <p:sldId id="370" r:id="rId6"/>
    <p:sldId id="369" r:id="rId7"/>
    <p:sldId id="347" r:id="rId8"/>
    <p:sldId id="371" r:id="rId9"/>
    <p:sldId id="372" r:id="rId10"/>
    <p:sldId id="373" r:id="rId11"/>
    <p:sldId id="291" r:id="rId12"/>
    <p:sldId id="348" r:id="rId13"/>
    <p:sldId id="374" r:id="rId14"/>
    <p:sldId id="375" r:id="rId15"/>
    <p:sldId id="376" r:id="rId16"/>
    <p:sldId id="379" r:id="rId17"/>
    <p:sldId id="378" r:id="rId18"/>
    <p:sldId id="380" r:id="rId19"/>
    <p:sldId id="381" r:id="rId20"/>
  </p:sldIdLst>
  <p:sldSz cx="12192000" cy="6858000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buFont typeface="Arial" pitchFamily="34" charset="0"/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buFont typeface="Arial" pitchFamily="34" charset="0"/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buFont typeface="Arial" pitchFamily="34" charset="0"/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buFont typeface="Arial" pitchFamily="34" charset="0"/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buFont typeface="Arial" pitchFamily="34" charset="0"/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77">
          <p15:clr>
            <a:srgbClr val="A4A3A4"/>
          </p15:clr>
        </p15:guide>
        <p15:guide id="2" pos="391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3">
          <p15:clr>
            <a:srgbClr val="A4A3A4"/>
          </p15:clr>
        </p15:guide>
        <p15:guide id="2" pos="219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064"/>
    <a:srgbClr val="92D050"/>
    <a:srgbClr val="96B5DD"/>
    <a:srgbClr val="DEEBF7"/>
    <a:srgbClr val="DC3C00"/>
    <a:srgbClr val="BFBFBF"/>
    <a:srgbClr val="44546A"/>
    <a:srgbClr val="F25136"/>
    <a:srgbClr val="DE6F5C"/>
    <a:srgbClr val="D7D6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49" autoAdjust="0"/>
    <p:restoredTop sz="95259" autoAdjust="0"/>
  </p:normalViewPr>
  <p:slideViewPr>
    <p:cSldViewPr snapToGrid="0">
      <p:cViewPr varScale="1">
        <p:scale>
          <a:sx n="66" d="100"/>
          <a:sy n="66" d="100"/>
        </p:scale>
        <p:origin x="804" y="72"/>
      </p:cViewPr>
      <p:guideLst>
        <p:guide orient="horz" pos="2177"/>
        <p:guide pos="391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53" d="100"/>
          <a:sy n="53" d="100"/>
        </p:scale>
        <p:origin x="-2940" y="-102"/>
      </p:cViewPr>
      <p:guideLst>
        <p:guide orient="horz" pos="2903"/>
        <p:guide pos="21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6C2C1-F950-4784-9DA6-F9978AC818AD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E574F2-6F89-4657-83A8-E0F29D3925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48910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3603EF9F-F2F0-416B-BE77-25843836B508}" type="datetimeFigureOut">
              <a:rPr lang="zh-CN" altLang="en-US"/>
              <a:t>2016/2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/>
            </a:lvl1pPr>
          </a:lstStyle>
          <a:p>
            <a:fld id="{2CBB6586-97CB-46D5-A641-75ED5A4F96A1}" type="slidenum">
              <a:rPr lang="zh-CN" altLang="en-US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50183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58461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46116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27964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00827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8024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9482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189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7974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6379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3767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974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20837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dirty="0" smtClean="0"/>
          </a:p>
        </p:txBody>
      </p:sp>
      <p:sp>
        <p:nvSpPr>
          <p:cNvPr id="297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fld id="{E26CE85D-53A1-45A2-866E-D8C2AC6835BB}" type="slidenum">
              <a:rPr lang="zh-CN" altLang="en-US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8101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613" y="4406900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102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4102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3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3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2838" y="1535113"/>
            <a:ext cx="538956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2838" y="2174875"/>
            <a:ext cx="538956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6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7263" y="273050"/>
            <a:ext cx="681513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16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188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188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772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A89A8A-52BF-4066-A5A0-6715CC9CE105}" type="datetimeFigureOut">
              <a:rPr lang="zh-CN" altLang="en-US" smtClean="0"/>
              <a:t>2016/2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F9263D-D451-42D5-BBAE-326A1E31713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矩形 4"/>
          <p:cNvSpPr>
            <a:spLocks noChangeArrowheads="1"/>
          </p:cNvSpPr>
          <p:nvPr userDrawn="1"/>
        </p:nvSpPr>
        <p:spPr bwMode="auto">
          <a:xfrm>
            <a:off x="0" y="6305266"/>
            <a:ext cx="12192000" cy="564133"/>
          </a:xfrm>
          <a:prstGeom prst="rect">
            <a:avLst/>
          </a:prstGeom>
          <a:solidFill>
            <a:srgbClr val="AAA8A4"/>
          </a:solidFill>
          <a:ln w="9525">
            <a:noFill/>
            <a:miter lim="800000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cxnSp>
        <p:nvCxnSpPr>
          <p:cNvPr id="11" name="直接连接符 10"/>
          <p:cNvCxnSpPr/>
          <p:nvPr userDrawn="1"/>
        </p:nvCxnSpPr>
        <p:spPr bwMode="auto">
          <a:xfrm>
            <a:off x="1078173" y="1119122"/>
            <a:ext cx="9294125" cy="158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2" charset="0"/>
          <a:ea typeface="宋体" pitchFamily="2" charset="-122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215491"/>
            <a:ext cx="4206240" cy="571106"/>
          </a:xfrm>
          <a:prstGeom prst="rect">
            <a:avLst/>
          </a:prstGeom>
          <a:solidFill>
            <a:srgbClr val="BFBFB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2994074" y="1786597"/>
            <a:ext cx="9197926" cy="571106"/>
          </a:xfrm>
          <a:prstGeom prst="rect">
            <a:avLst/>
          </a:prstGeom>
          <a:solidFill>
            <a:srgbClr val="FF60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1357" y="3378328"/>
            <a:ext cx="5685714" cy="742857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9" name="文本框 8"/>
          <p:cNvSpPr txBox="1"/>
          <p:nvPr/>
        </p:nvSpPr>
        <p:spPr>
          <a:xfrm>
            <a:off x="168813" y="1336431"/>
            <a:ext cx="3362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ducation Digital Upgrade</a:t>
            </a:r>
            <a:endParaRPr lang="zh-CN" alt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795931" y="1907537"/>
            <a:ext cx="623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oud Computing As Service Solution</a:t>
            </a:r>
            <a:endParaRPr lang="zh-CN" alt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7028597" y="5049672"/>
            <a:ext cx="4230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rgbClr val="44546A"/>
                </a:solidFill>
                <a:latin typeface="微软雅黑" pitchFamily="34" charset="-122"/>
                <a:ea typeface="微软雅黑" pitchFamily="34" charset="-122"/>
              </a:rPr>
              <a:t>爱</a:t>
            </a:r>
            <a:r>
              <a:rPr lang="zh-CN" altLang="en-US" sz="2800" dirty="0" smtClean="0">
                <a:solidFill>
                  <a:srgbClr val="44546A"/>
                </a:solidFill>
                <a:latin typeface="微软雅黑" pitchFamily="34" charset="-122"/>
                <a:ea typeface="微软雅黑" pitchFamily="34" charset="-122"/>
              </a:rPr>
              <a:t>丁承远</a:t>
            </a:r>
            <a:r>
              <a:rPr lang="en-US" altLang="zh-CN" sz="2800" dirty="0" smtClean="0">
                <a:solidFill>
                  <a:srgbClr val="44546A"/>
                </a:solidFill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sz="2800" dirty="0" smtClean="0">
                <a:solidFill>
                  <a:srgbClr val="44546A"/>
                </a:solidFill>
                <a:latin typeface="微软雅黑" pitchFamily="34" charset="-122"/>
                <a:ea typeface="微软雅黑" pitchFamily="34" charset="-122"/>
              </a:rPr>
              <a:t>武可嘉</a:t>
            </a:r>
            <a:endParaRPr lang="zh-CN" altLang="en-US" sz="2800" dirty="0">
              <a:solidFill>
                <a:srgbClr val="44546A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39032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服务方案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2419985" y="1563370"/>
            <a:ext cx="8091170" cy="41021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矩形 55"/>
          <p:cNvSpPr/>
          <p:nvPr/>
        </p:nvSpPr>
        <p:spPr>
          <a:xfrm>
            <a:off x="6426835" y="2216785"/>
            <a:ext cx="4428490" cy="25857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1260475" y="2217420"/>
            <a:ext cx="5207000" cy="260159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 57"/>
          <p:cNvSpPr/>
          <p:nvPr/>
        </p:nvSpPr>
        <p:spPr>
          <a:xfrm>
            <a:off x="2419985" y="5733415"/>
            <a:ext cx="8119110" cy="3727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 58"/>
          <p:cNvSpPr/>
          <p:nvPr/>
        </p:nvSpPr>
        <p:spPr>
          <a:xfrm>
            <a:off x="2419985" y="5295900"/>
            <a:ext cx="4217670" cy="4051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矩形 59"/>
          <p:cNvSpPr/>
          <p:nvPr/>
        </p:nvSpPr>
        <p:spPr>
          <a:xfrm>
            <a:off x="6743065" y="5295900"/>
            <a:ext cx="3796030" cy="40513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TextBox 23"/>
          <p:cNvSpPr txBox="1"/>
          <p:nvPr/>
        </p:nvSpPr>
        <p:spPr>
          <a:xfrm>
            <a:off x="2419985" y="5782310"/>
            <a:ext cx="4465320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黑体" pitchFamily="49" charset="-122"/>
                <a:ea typeface="黑体" pitchFamily="49" charset="-122"/>
              </a:rPr>
              <a:t>基础设施（操作系统，数据库，应用服务器）</a:t>
            </a:r>
          </a:p>
        </p:txBody>
      </p:sp>
      <p:grpSp>
        <p:nvGrpSpPr>
          <p:cNvPr id="62" name="组合 118"/>
          <p:cNvGrpSpPr/>
          <p:nvPr/>
        </p:nvGrpSpPr>
        <p:grpSpPr>
          <a:xfrm>
            <a:off x="5583555" y="5749925"/>
            <a:ext cx="4396105" cy="338455"/>
            <a:chOff x="3929058" y="5972400"/>
            <a:chExt cx="2978416" cy="298658"/>
          </a:xfrm>
        </p:grpSpPr>
        <p:grpSp>
          <p:nvGrpSpPr>
            <p:cNvPr id="63" name="组合 62"/>
            <p:cNvGrpSpPr/>
            <p:nvPr/>
          </p:nvGrpSpPr>
          <p:grpSpPr>
            <a:xfrm>
              <a:off x="3929060" y="5972400"/>
              <a:ext cx="2978417" cy="298658"/>
              <a:chOff x="3929058" y="5603455"/>
              <a:chExt cx="2286016" cy="447988"/>
            </a:xfrm>
          </p:grpSpPr>
          <p:pic>
            <p:nvPicPr>
              <p:cNvPr id="64" name="Picture 15" descr="\\Detroit\c\RedBack\Icons\server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rcRect/>
              <a:stretch>
                <a:fillRect/>
              </a:stretch>
            </p:blipFill>
            <p:spPr bwMode="auto">
              <a:xfrm>
                <a:off x="3929058" y="5603455"/>
                <a:ext cx="285752" cy="4462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5" name="Picture 15" descr="\\Detroit\c\RedBack\Icons\server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rcRect/>
              <a:stretch>
                <a:fillRect/>
              </a:stretch>
            </p:blipFill>
            <p:spPr bwMode="auto">
              <a:xfrm>
                <a:off x="4857752" y="5605200"/>
                <a:ext cx="285752" cy="4462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6" name="Picture 15" descr="\\Detroit\c\RedBack\Icons\server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rcRect/>
              <a:stretch>
                <a:fillRect/>
              </a:stretch>
            </p:blipFill>
            <p:spPr bwMode="auto">
              <a:xfrm>
                <a:off x="5929322" y="5605200"/>
                <a:ext cx="285752" cy="4462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cxnSp>
          <p:nvCxnSpPr>
            <p:cNvPr id="67" name="直接连接符 66"/>
            <p:cNvCxnSpPr/>
            <p:nvPr/>
          </p:nvCxnSpPr>
          <p:spPr>
            <a:xfrm>
              <a:off x="4286248" y="6143644"/>
              <a:ext cx="928694" cy="1588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/>
            <p:cNvCxnSpPr>
              <a:stCxn id="65" idx="3"/>
            </p:cNvCxnSpPr>
            <p:nvPr/>
          </p:nvCxnSpPr>
          <p:spPr>
            <a:xfrm>
              <a:off x="5511342" y="6122311"/>
              <a:ext cx="1138640" cy="16521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TextBox 44"/>
          <p:cNvSpPr txBox="1"/>
          <p:nvPr/>
        </p:nvSpPr>
        <p:spPr>
          <a:xfrm>
            <a:off x="2496185" y="5350510"/>
            <a:ext cx="228028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charset="0"/>
                <a:ea typeface="微软雅黑" charset="0"/>
              </a:rPr>
              <a:t>数据中心</a:t>
            </a:r>
          </a:p>
        </p:txBody>
      </p:sp>
      <p:sp>
        <p:nvSpPr>
          <p:cNvPr id="70" name="TextBox 45"/>
          <p:cNvSpPr txBox="1"/>
          <p:nvPr/>
        </p:nvSpPr>
        <p:spPr>
          <a:xfrm>
            <a:off x="6790690" y="5365750"/>
            <a:ext cx="190055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charset="0"/>
                <a:ea typeface="微软雅黑" charset="0"/>
              </a:rPr>
              <a:t>资源中心</a:t>
            </a:r>
          </a:p>
        </p:txBody>
      </p:sp>
      <p:grpSp>
        <p:nvGrpSpPr>
          <p:cNvPr id="78" name="组合 117"/>
          <p:cNvGrpSpPr/>
          <p:nvPr/>
        </p:nvGrpSpPr>
        <p:grpSpPr>
          <a:xfrm>
            <a:off x="8535670" y="5358130"/>
            <a:ext cx="1476375" cy="323850"/>
            <a:chOff x="6215074" y="4500570"/>
            <a:chExt cx="1000132" cy="285752"/>
          </a:xfrm>
        </p:grpSpPr>
        <p:grpSp>
          <p:nvGrpSpPr>
            <p:cNvPr id="79" name="Group 247"/>
            <p:cNvGrpSpPr/>
            <p:nvPr/>
          </p:nvGrpSpPr>
          <p:grpSpPr bwMode="auto">
            <a:xfrm>
              <a:off x="6215074" y="4500577"/>
              <a:ext cx="357190" cy="285753"/>
              <a:chOff x="432" y="3360"/>
              <a:chExt cx="432" cy="468"/>
            </a:xfrm>
          </p:grpSpPr>
          <p:grpSp>
            <p:nvGrpSpPr>
              <p:cNvPr id="80" name="Group 225"/>
              <p:cNvGrpSpPr/>
              <p:nvPr/>
            </p:nvGrpSpPr>
            <p:grpSpPr bwMode="auto">
              <a:xfrm>
                <a:off x="432" y="3600"/>
                <a:ext cx="432" cy="228"/>
                <a:chOff x="432" y="288"/>
                <a:chExt cx="1488" cy="372"/>
              </a:xfrm>
            </p:grpSpPr>
            <p:sp>
              <p:nvSpPr>
                <p:cNvPr id="91" name="Oval 226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92" name="Oval 227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81" name="Group 222"/>
              <p:cNvGrpSpPr/>
              <p:nvPr/>
            </p:nvGrpSpPr>
            <p:grpSpPr bwMode="auto">
              <a:xfrm>
                <a:off x="432" y="3552"/>
                <a:ext cx="432" cy="228"/>
                <a:chOff x="432" y="288"/>
                <a:chExt cx="1488" cy="372"/>
              </a:xfrm>
            </p:grpSpPr>
            <p:sp>
              <p:nvSpPr>
                <p:cNvPr id="89" name="Oval 223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90" name="Oval 224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82" name="Group 219"/>
              <p:cNvGrpSpPr/>
              <p:nvPr/>
            </p:nvGrpSpPr>
            <p:grpSpPr bwMode="auto">
              <a:xfrm>
                <a:off x="432" y="3504"/>
                <a:ext cx="432" cy="228"/>
                <a:chOff x="432" y="288"/>
                <a:chExt cx="1488" cy="372"/>
              </a:xfrm>
            </p:grpSpPr>
            <p:sp>
              <p:nvSpPr>
                <p:cNvPr id="87" name="Oval 220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88" name="Oval 221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83" name="Group 216"/>
              <p:cNvGrpSpPr/>
              <p:nvPr/>
            </p:nvGrpSpPr>
            <p:grpSpPr bwMode="auto">
              <a:xfrm>
                <a:off x="432" y="3456"/>
                <a:ext cx="432" cy="228"/>
                <a:chOff x="432" y="288"/>
                <a:chExt cx="1488" cy="372"/>
              </a:xfrm>
            </p:grpSpPr>
            <p:sp>
              <p:nvSpPr>
                <p:cNvPr id="85" name="Oval 217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86" name="Oval 218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84" name="Group 213"/>
              <p:cNvGrpSpPr/>
              <p:nvPr/>
            </p:nvGrpSpPr>
            <p:grpSpPr bwMode="auto">
              <a:xfrm>
                <a:off x="432" y="3408"/>
                <a:ext cx="432" cy="228"/>
                <a:chOff x="432" y="288"/>
                <a:chExt cx="1488" cy="372"/>
              </a:xfrm>
            </p:grpSpPr>
            <p:sp>
              <p:nvSpPr>
                <p:cNvPr id="93" name="Oval 214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94" name="Oval 215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95" name="Group 210"/>
              <p:cNvGrpSpPr/>
              <p:nvPr/>
            </p:nvGrpSpPr>
            <p:grpSpPr bwMode="auto">
              <a:xfrm>
                <a:off x="432" y="3360"/>
                <a:ext cx="432" cy="228"/>
                <a:chOff x="432" y="288"/>
                <a:chExt cx="1488" cy="372"/>
              </a:xfrm>
            </p:grpSpPr>
            <p:sp>
              <p:nvSpPr>
                <p:cNvPr id="96" name="Oval 211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97" name="Oval 212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</p:grpSp>
        <p:grpSp>
          <p:nvGrpSpPr>
            <p:cNvPr id="98" name="Group 247"/>
            <p:cNvGrpSpPr/>
            <p:nvPr/>
          </p:nvGrpSpPr>
          <p:grpSpPr bwMode="auto">
            <a:xfrm>
              <a:off x="6858016" y="4500577"/>
              <a:ext cx="357190" cy="285753"/>
              <a:chOff x="432" y="3360"/>
              <a:chExt cx="432" cy="468"/>
            </a:xfrm>
          </p:grpSpPr>
          <p:grpSp>
            <p:nvGrpSpPr>
              <p:cNvPr id="99" name="Group 225"/>
              <p:cNvGrpSpPr/>
              <p:nvPr/>
            </p:nvGrpSpPr>
            <p:grpSpPr bwMode="auto">
              <a:xfrm>
                <a:off x="432" y="3600"/>
                <a:ext cx="432" cy="228"/>
                <a:chOff x="432" y="288"/>
                <a:chExt cx="1488" cy="372"/>
              </a:xfrm>
            </p:grpSpPr>
            <p:sp>
              <p:nvSpPr>
                <p:cNvPr id="100" name="Oval 226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01" name="Oval 227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102" name="Group 222"/>
              <p:cNvGrpSpPr/>
              <p:nvPr/>
            </p:nvGrpSpPr>
            <p:grpSpPr bwMode="auto">
              <a:xfrm>
                <a:off x="432" y="3552"/>
                <a:ext cx="432" cy="228"/>
                <a:chOff x="432" y="288"/>
                <a:chExt cx="1488" cy="372"/>
              </a:xfrm>
            </p:grpSpPr>
            <p:sp>
              <p:nvSpPr>
                <p:cNvPr id="103" name="Oval 223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04" name="Oval 224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105" name="Group 219"/>
              <p:cNvGrpSpPr/>
              <p:nvPr/>
            </p:nvGrpSpPr>
            <p:grpSpPr bwMode="auto">
              <a:xfrm>
                <a:off x="432" y="3504"/>
                <a:ext cx="432" cy="228"/>
                <a:chOff x="432" y="288"/>
                <a:chExt cx="1488" cy="372"/>
              </a:xfrm>
            </p:grpSpPr>
            <p:sp>
              <p:nvSpPr>
                <p:cNvPr id="106" name="Oval 220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07" name="Oval 221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108" name="Group 216"/>
              <p:cNvGrpSpPr/>
              <p:nvPr/>
            </p:nvGrpSpPr>
            <p:grpSpPr bwMode="auto">
              <a:xfrm>
                <a:off x="432" y="3456"/>
                <a:ext cx="432" cy="228"/>
                <a:chOff x="432" y="288"/>
                <a:chExt cx="1488" cy="372"/>
              </a:xfrm>
            </p:grpSpPr>
            <p:sp>
              <p:nvSpPr>
                <p:cNvPr id="109" name="Oval 217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10" name="Oval 218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111" name="Group 213"/>
              <p:cNvGrpSpPr/>
              <p:nvPr/>
            </p:nvGrpSpPr>
            <p:grpSpPr bwMode="auto">
              <a:xfrm>
                <a:off x="432" y="3408"/>
                <a:ext cx="432" cy="228"/>
                <a:chOff x="432" y="288"/>
                <a:chExt cx="1488" cy="372"/>
              </a:xfrm>
            </p:grpSpPr>
            <p:sp>
              <p:nvSpPr>
                <p:cNvPr id="112" name="Oval 214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13" name="Oval 215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  <p:grpSp>
            <p:nvGrpSpPr>
              <p:cNvPr id="114" name="Group 210"/>
              <p:cNvGrpSpPr/>
              <p:nvPr/>
            </p:nvGrpSpPr>
            <p:grpSpPr bwMode="auto">
              <a:xfrm>
                <a:off x="432" y="3360"/>
                <a:ext cx="432" cy="228"/>
                <a:chOff x="432" y="288"/>
                <a:chExt cx="1488" cy="372"/>
              </a:xfrm>
            </p:grpSpPr>
            <p:sp>
              <p:nvSpPr>
                <p:cNvPr id="115" name="Oval 211"/>
                <p:cNvSpPr>
                  <a:spLocks noChangeArrowheads="1"/>
                </p:cNvSpPr>
                <p:nvPr/>
              </p:nvSpPr>
              <p:spPr bwMode="auto">
                <a:xfrm>
                  <a:off x="432" y="324"/>
                  <a:ext cx="1488" cy="336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noFill/>
                  <a:round/>
                </a:ln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  <p:sp>
              <p:nvSpPr>
                <p:cNvPr id="116" name="Oval 212"/>
                <p:cNvSpPr>
                  <a:spLocks noChangeArrowheads="1"/>
                </p:cNvSpPr>
                <p:nvPr/>
              </p:nvSpPr>
              <p:spPr bwMode="auto">
                <a:xfrm>
                  <a:off x="432" y="288"/>
                  <a:ext cx="1488" cy="336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B2B2B2"/>
                    </a:gs>
                    <a:gs pos="100000">
                      <a:srgbClr val="B2B2B2">
                        <a:gamma/>
                        <a:shade val="66275"/>
                        <a:invGamma/>
                      </a:srgbClr>
                    </a:gs>
                  </a:gsLst>
                  <a:lin ang="2700000" scaled="1"/>
                </a:gra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r" defTabSz="914400" rtl="0" eaLnBrk="1" fontAlgn="base" latinLnBrk="0" hangingPunct="1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zh-CN" alt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8" charset="-52"/>
                    <a:ea typeface="宋体" charset="-122"/>
                    <a:cs typeface="+mn-cs"/>
                  </a:endParaRPr>
                </a:p>
              </p:txBody>
            </p:sp>
          </p:grpSp>
        </p:grpSp>
      </p:grpSp>
      <p:sp>
        <p:nvSpPr>
          <p:cNvPr id="127" name="圆角矩形 126"/>
          <p:cNvSpPr/>
          <p:nvPr/>
        </p:nvSpPr>
        <p:spPr>
          <a:xfrm>
            <a:off x="2419985" y="4915535"/>
            <a:ext cx="8119110" cy="323850"/>
          </a:xfrm>
          <a:prstGeom prst="roundRect">
            <a:avLst/>
          </a:prstGeom>
          <a:solidFill>
            <a:srgbClr val="F9FBA5"/>
          </a:solidFill>
          <a:ln w="12700" cap="sq"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8" name="TextBox 103"/>
          <p:cNvSpPr txBox="1"/>
          <p:nvPr/>
        </p:nvSpPr>
        <p:spPr>
          <a:xfrm>
            <a:off x="4553585" y="4915535"/>
            <a:ext cx="295211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latin typeface="微软雅黑" charset="0"/>
                <a:ea typeface="微软雅黑" charset="0"/>
              </a:rPr>
              <a:t>网络服务总线</a:t>
            </a:r>
          </a:p>
        </p:txBody>
      </p:sp>
      <p:sp>
        <p:nvSpPr>
          <p:cNvPr id="134" name="矩形 133"/>
          <p:cNvSpPr/>
          <p:nvPr/>
        </p:nvSpPr>
        <p:spPr>
          <a:xfrm>
            <a:off x="2419985" y="2460625"/>
            <a:ext cx="3901440" cy="2145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7" name="组合 160"/>
          <p:cNvGrpSpPr/>
          <p:nvPr/>
        </p:nvGrpSpPr>
        <p:grpSpPr>
          <a:xfrm>
            <a:off x="6622415" y="2429510"/>
            <a:ext cx="3901440" cy="972185"/>
            <a:chOff x="5286380" y="3071810"/>
            <a:chExt cx="2000264" cy="857256"/>
          </a:xfrm>
        </p:grpSpPr>
        <p:sp>
          <p:nvSpPr>
            <p:cNvPr id="138" name="矩形 137"/>
            <p:cNvSpPr/>
            <p:nvPr/>
          </p:nvSpPr>
          <p:spPr>
            <a:xfrm>
              <a:off x="5286380" y="3071810"/>
              <a:ext cx="2000264" cy="8572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AutoShape 26"/>
            <p:cNvSpPr>
              <a:spLocks noChangeArrowheads="1"/>
            </p:cNvSpPr>
            <p:nvPr/>
          </p:nvSpPr>
          <p:spPr bwMode="auto">
            <a:xfrm>
              <a:off x="5340749" y="3143481"/>
              <a:ext cx="328168" cy="714473"/>
            </a:xfrm>
            <a:prstGeom prst="can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用户</a:t>
              </a:r>
            </a:p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中心</a:t>
              </a:r>
            </a:p>
          </p:txBody>
        </p:sp>
        <p:sp>
          <p:nvSpPr>
            <p:cNvPr id="140" name="AutoShape 26"/>
            <p:cNvSpPr>
              <a:spLocks noChangeArrowheads="1"/>
            </p:cNvSpPr>
            <p:nvPr/>
          </p:nvSpPr>
          <p:spPr bwMode="auto">
            <a:xfrm>
              <a:off x="5744122" y="3143481"/>
              <a:ext cx="314820" cy="714473"/>
            </a:xfrm>
            <a:prstGeom prst="can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产品</a:t>
              </a:r>
            </a:p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中心</a:t>
              </a:r>
            </a:p>
          </p:txBody>
        </p:sp>
        <p:sp>
          <p:nvSpPr>
            <p:cNvPr id="141" name="AutoShape 26"/>
            <p:cNvSpPr>
              <a:spLocks noChangeArrowheads="1"/>
            </p:cNvSpPr>
            <p:nvPr/>
          </p:nvSpPr>
          <p:spPr bwMode="auto">
            <a:xfrm>
              <a:off x="6165076" y="3156920"/>
              <a:ext cx="310262" cy="714473"/>
            </a:xfrm>
            <a:prstGeom prst="can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社区</a:t>
              </a:r>
            </a:p>
          </p:txBody>
        </p:sp>
      </p:grpSp>
      <p:sp>
        <p:nvSpPr>
          <p:cNvPr id="142" name="圆角矩形 141"/>
          <p:cNvSpPr/>
          <p:nvPr/>
        </p:nvSpPr>
        <p:spPr>
          <a:xfrm>
            <a:off x="2419985" y="2054860"/>
            <a:ext cx="8119110" cy="323850"/>
          </a:xfrm>
          <a:prstGeom prst="roundRect">
            <a:avLst/>
          </a:prstGeom>
          <a:solidFill>
            <a:srgbClr val="F9FBA5"/>
          </a:solidFill>
          <a:ln w="12700" cap="sq"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3" name="TextBox 117"/>
          <p:cNvSpPr txBox="1"/>
          <p:nvPr/>
        </p:nvSpPr>
        <p:spPr>
          <a:xfrm>
            <a:off x="4584065" y="2085340"/>
            <a:ext cx="295211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latin typeface="微软雅黑" charset="0"/>
                <a:ea typeface="微软雅黑" charset="0"/>
              </a:rPr>
              <a:t>单点登录服务</a:t>
            </a:r>
          </a:p>
        </p:txBody>
      </p:sp>
      <p:cxnSp>
        <p:nvCxnSpPr>
          <p:cNvPr id="151" name="直接连接符 150"/>
          <p:cNvCxnSpPr/>
          <p:nvPr/>
        </p:nvCxnSpPr>
        <p:spPr>
          <a:xfrm rot="5400000">
            <a:off x="-1293495" y="3716020"/>
            <a:ext cx="5106670" cy="127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直接连接符 151"/>
          <p:cNvCxnSpPr/>
          <p:nvPr/>
        </p:nvCxnSpPr>
        <p:spPr>
          <a:xfrm>
            <a:off x="1260475" y="6268085"/>
            <a:ext cx="9594850" cy="19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直接连接符 152"/>
          <p:cNvCxnSpPr/>
          <p:nvPr/>
        </p:nvCxnSpPr>
        <p:spPr>
          <a:xfrm rot="5400000" flipH="1" flipV="1">
            <a:off x="8303260" y="3715385"/>
            <a:ext cx="5106035" cy="127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直接连接符 153"/>
          <p:cNvCxnSpPr/>
          <p:nvPr/>
        </p:nvCxnSpPr>
        <p:spPr>
          <a:xfrm>
            <a:off x="1290955" y="5016500"/>
            <a:ext cx="1160145" cy="19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直接连接符 154"/>
          <p:cNvCxnSpPr/>
          <p:nvPr/>
        </p:nvCxnSpPr>
        <p:spPr>
          <a:xfrm>
            <a:off x="10539095" y="5077460"/>
            <a:ext cx="316230" cy="19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直接连接符 155"/>
          <p:cNvCxnSpPr/>
          <p:nvPr/>
        </p:nvCxnSpPr>
        <p:spPr>
          <a:xfrm>
            <a:off x="1260475" y="2214880"/>
            <a:ext cx="1160145" cy="19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直接连接符 156"/>
          <p:cNvCxnSpPr/>
          <p:nvPr/>
        </p:nvCxnSpPr>
        <p:spPr>
          <a:xfrm>
            <a:off x="10539095" y="2214880"/>
            <a:ext cx="316230" cy="19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31"/>
          <p:cNvSpPr txBox="1"/>
          <p:nvPr/>
        </p:nvSpPr>
        <p:spPr>
          <a:xfrm>
            <a:off x="1470025" y="5265420"/>
            <a:ext cx="421640" cy="652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charset="0"/>
                <a:ea typeface="微软雅黑" charset="0"/>
              </a:rPr>
              <a:t>基础层</a:t>
            </a:r>
            <a:endParaRPr lang="en-US" altLang="zh-CN" sz="1200" dirty="0" smtClean="0">
              <a:latin typeface="微软雅黑" charset="0"/>
              <a:ea typeface="微软雅黑" charset="0"/>
            </a:endParaRPr>
          </a:p>
        </p:txBody>
      </p:sp>
      <p:sp>
        <p:nvSpPr>
          <p:cNvPr id="160" name="TextBox 133"/>
          <p:cNvSpPr txBox="1"/>
          <p:nvPr/>
        </p:nvSpPr>
        <p:spPr>
          <a:xfrm>
            <a:off x="1485265" y="3165475"/>
            <a:ext cx="421640" cy="652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charset="0"/>
                <a:ea typeface="微软雅黑" charset="0"/>
              </a:rPr>
              <a:t>应用层</a:t>
            </a:r>
            <a:endParaRPr lang="en-US" altLang="zh-CN" sz="1200" dirty="0" smtClean="0">
              <a:latin typeface="微软雅黑" charset="0"/>
              <a:ea typeface="微软雅黑" charset="0"/>
            </a:endParaRPr>
          </a:p>
        </p:txBody>
      </p:sp>
      <p:sp>
        <p:nvSpPr>
          <p:cNvPr id="161" name="TextBox 134"/>
          <p:cNvSpPr txBox="1"/>
          <p:nvPr/>
        </p:nvSpPr>
        <p:spPr>
          <a:xfrm>
            <a:off x="1576705" y="1417955"/>
            <a:ext cx="421640" cy="652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charset="0"/>
                <a:ea typeface="微软雅黑" charset="0"/>
              </a:rPr>
              <a:t>展现层</a:t>
            </a:r>
            <a:endParaRPr lang="en-US" altLang="zh-CN" sz="1200" dirty="0" smtClean="0">
              <a:latin typeface="微软雅黑" charset="0"/>
              <a:ea typeface="微软雅黑" charset="0"/>
            </a:endParaRPr>
          </a:p>
        </p:txBody>
      </p:sp>
      <p:cxnSp>
        <p:nvCxnSpPr>
          <p:cNvPr id="162" name="直接连接符 161"/>
          <p:cNvCxnSpPr/>
          <p:nvPr/>
        </p:nvCxnSpPr>
        <p:spPr>
          <a:xfrm>
            <a:off x="1260475" y="1163320"/>
            <a:ext cx="9594850" cy="19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AutoShape 26"/>
          <p:cNvSpPr>
            <a:spLocks noChangeArrowheads="1"/>
          </p:cNvSpPr>
          <p:nvPr/>
        </p:nvSpPr>
        <p:spPr bwMode="auto">
          <a:xfrm>
            <a:off x="9801225" y="2555875"/>
            <a:ext cx="620395" cy="810260"/>
          </a:xfrm>
          <a:prstGeom prst="can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积分</a:t>
            </a:r>
          </a:p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商城</a:t>
            </a:r>
          </a:p>
        </p:txBody>
      </p:sp>
      <p:sp>
        <p:nvSpPr>
          <p:cNvPr id="408" name="TextBox 103"/>
          <p:cNvSpPr txBox="1"/>
          <p:nvPr/>
        </p:nvSpPr>
        <p:spPr>
          <a:xfrm>
            <a:off x="4756785" y="1613535"/>
            <a:ext cx="295211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微软雅黑" charset="0"/>
                <a:ea typeface="微软雅黑" charset="0"/>
              </a:rPr>
              <a:t>Portal</a:t>
            </a:r>
            <a:r>
              <a:rPr lang="zh-CN" altLang="en-US" sz="1200" dirty="0" smtClean="0">
                <a:latin typeface="微软雅黑" charset="0"/>
                <a:ea typeface="微软雅黑" charset="0"/>
              </a:rPr>
              <a:t>（门户）</a:t>
            </a:r>
          </a:p>
        </p:txBody>
      </p:sp>
      <p:sp>
        <p:nvSpPr>
          <p:cNvPr id="409" name="TextBox 103"/>
          <p:cNvSpPr txBox="1"/>
          <p:nvPr/>
        </p:nvSpPr>
        <p:spPr>
          <a:xfrm>
            <a:off x="2775585" y="2710815"/>
            <a:ext cx="295211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latin typeface="微软雅黑" charset="0"/>
                <a:ea typeface="微软雅黑" charset="0"/>
              </a:rPr>
              <a:t>应用统计分析</a:t>
            </a:r>
          </a:p>
        </p:txBody>
      </p:sp>
      <p:sp>
        <p:nvSpPr>
          <p:cNvPr id="410" name="AutoShape 26"/>
          <p:cNvSpPr>
            <a:spLocks noChangeArrowheads="1"/>
          </p:cNvSpPr>
          <p:nvPr/>
        </p:nvSpPr>
        <p:spPr bwMode="auto">
          <a:xfrm>
            <a:off x="9074785" y="2576830"/>
            <a:ext cx="598170" cy="810260"/>
          </a:xfrm>
          <a:prstGeom prst="can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应用</a:t>
            </a:r>
          </a:p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市场</a:t>
            </a:r>
          </a:p>
        </p:txBody>
      </p:sp>
      <p:grpSp>
        <p:nvGrpSpPr>
          <p:cNvPr id="417" name="组合 160"/>
          <p:cNvGrpSpPr/>
          <p:nvPr/>
        </p:nvGrpSpPr>
        <p:grpSpPr>
          <a:xfrm>
            <a:off x="6607175" y="2429510"/>
            <a:ext cx="3901440" cy="972185"/>
            <a:chOff x="5286380" y="3071810"/>
            <a:chExt cx="2000264" cy="857256"/>
          </a:xfrm>
        </p:grpSpPr>
        <p:sp>
          <p:nvSpPr>
            <p:cNvPr id="418" name="矩形 417"/>
            <p:cNvSpPr/>
            <p:nvPr/>
          </p:nvSpPr>
          <p:spPr>
            <a:xfrm>
              <a:off x="5286380" y="3071810"/>
              <a:ext cx="2000264" cy="8572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9" name="AutoShape 26"/>
            <p:cNvSpPr>
              <a:spLocks noChangeArrowheads="1"/>
            </p:cNvSpPr>
            <p:nvPr/>
          </p:nvSpPr>
          <p:spPr bwMode="auto">
            <a:xfrm>
              <a:off x="5340749" y="3197234"/>
              <a:ext cx="328168" cy="714473"/>
            </a:xfrm>
            <a:prstGeom prst="can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用户</a:t>
              </a:r>
            </a:p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中心</a:t>
              </a:r>
            </a:p>
          </p:txBody>
        </p:sp>
        <p:sp>
          <p:nvSpPr>
            <p:cNvPr id="420" name="AutoShape 26"/>
            <p:cNvSpPr>
              <a:spLocks noChangeArrowheads="1"/>
            </p:cNvSpPr>
            <p:nvPr/>
          </p:nvSpPr>
          <p:spPr bwMode="auto">
            <a:xfrm>
              <a:off x="5736308" y="3197234"/>
              <a:ext cx="314820" cy="714473"/>
            </a:xfrm>
            <a:prstGeom prst="can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产品</a:t>
              </a:r>
            </a:p>
            <a:p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中心</a:t>
              </a:r>
            </a:p>
          </p:txBody>
        </p:sp>
        <p:sp>
          <p:nvSpPr>
            <p:cNvPr id="421" name="AutoShape 26"/>
            <p:cNvSpPr>
              <a:spLocks noChangeArrowheads="1"/>
            </p:cNvSpPr>
            <p:nvPr/>
          </p:nvSpPr>
          <p:spPr bwMode="auto">
            <a:xfrm>
              <a:off x="6165076" y="3210673"/>
              <a:ext cx="310262" cy="714473"/>
            </a:xfrm>
            <a:prstGeom prst="can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en-US" altLang="zh-CN" sz="1000" dirty="0">
                  <a:latin typeface="黑体" pitchFamily="49" charset="-122"/>
                  <a:ea typeface="黑体" pitchFamily="49" charset="-122"/>
                </a:rPr>
                <a:t> </a:t>
              </a:r>
              <a:r>
                <a:rPr lang="zh-CN" altLang="en-US" sz="1000" dirty="0">
                  <a:latin typeface="黑体" pitchFamily="49" charset="-122"/>
                  <a:ea typeface="黑体" pitchFamily="49" charset="-122"/>
                </a:rPr>
                <a:t>社区</a:t>
              </a:r>
            </a:p>
          </p:txBody>
        </p:sp>
      </p:grpSp>
      <p:sp>
        <p:nvSpPr>
          <p:cNvPr id="422" name="AutoShape 26"/>
          <p:cNvSpPr>
            <a:spLocks noChangeArrowheads="1"/>
          </p:cNvSpPr>
          <p:nvPr/>
        </p:nvSpPr>
        <p:spPr bwMode="auto">
          <a:xfrm>
            <a:off x="9816465" y="2561590"/>
            <a:ext cx="620395" cy="810260"/>
          </a:xfrm>
          <a:prstGeom prst="can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积分</a:t>
            </a:r>
          </a:p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商城</a:t>
            </a:r>
          </a:p>
        </p:txBody>
      </p:sp>
      <p:sp>
        <p:nvSpPr>
          <p:cNvPr id="423" name="AutoShape 26"/>
          <p:cNvSpPr>
            <a:spLocks noChangeArrowheads="1"/>
          </p:cNvSpPr>
          <p:nvPr/>
        </p:nvSpPr>
        <p:spPr bwMode="auto">
          <a:xfrm>
            <a:off x="9090025" y="2576830"/>
            <a:ext cx="598170" cy="810260"/>
          </a:xfrm>
          <a:prstGeom prst="can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应用</a:t>
            </a:r>
          </a:p>
          <a:p>
            <a:r>
              <a:rPr lang="zh-CN" altLang="en-US" sz="1000" dirty="0">
                <a:latin typeface="黑体" pitchFamily="49" charset="-122"/>
                <a:ea typeface="黑体" pitchFamily="49" charset="-122"/>
              </a:rPr>
              <a:t>市场</a:t>
            </a:r>
          </a:p>
        </p:txBody>
      </p:sp>
      <p:grpSp>
        <p:nvGrpSpPr>
          <p:cNvPr id="424" name="组合 160"/>
          <p:cNvGrpSpPr/>
          <p:nvPr/>
        </p:nvGrpSpPr>
        <p:grpSpPr>
          <a:xfrm>
            <a:off x="6622415" y="2414905"/>
            <a:ext cx="3901440" cy="2191385"/>
            <a:chOff x="5286380" y="3071810"/>
            <a:chExt cx="2000264" cy="857256"/>
          </a:xfrm>
        </p:grpSpPr>
        <p:sp>
          <p:nvSpPr>
            <p:cNvPr id="425" name="矩形 424"/>
            <p:cNvSpPr/>
            <p:nvPr/>
          </p:nvSpPr>
          <p:spPr>
            <a:xfrm>
              <a:off x="5286380" y="3071810"/>
              <a:ext cx="2000264" cy="8572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6" name="AutoShape 26"/>
            <p:cNvSpPr>
              <a:spLocks noChangeArrowheads="1"/>
            </p:cNvSpPr>
            <p:nvPr/>
          </p:nvSpPr>
          <p:spPr bwMode="auto">
            <a:xfrm>
              <a:off x="5340749" y="3346052"/>
              <a:ext cx="328168" cy="565873"/>
            </a:xfrm>
            <a:prstGeom prst="can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en-US" altLang="zh-CN" sz="1000" dirty="0">
                  <a:latin typeface="微软雅黑" charset="0"/>
                  <a:ea typeface="微软雅黑" charset="0"/>
                </a:rPr>
                <a:t>  </a:t>
              </a:r>
              <a:r>
                <a:rPr lang="zh-CN" altLang="en-US" sz="1000" dirty="0">
                  <a:latin typeface="微软雅黑" charset="0"/>
                  <a:ea typeface="微软雅黑" charset="0"/>
                </a:rPr>
                <a:t>用户</a:t>
              </a:r>
            </a:p>
            <a:p>
              <a:r>
                <a:rPr lang="zh-CN" altLang="en-US" sz="1000" dirty="0">
                  <a:latin typeface="微软雅黑" charset="0"/>
                  <a:ea typeface="微软雅黑" charset="0"/>
                </a:rPr>
                <a:t>  中心</a:t>
              </a:r>
            </a:p>
          </p:txBody>
        </p:sp>
        <p:sp>
          <p:nvSpPr>
            <p:cNvPr id="427" name="AutoShape 26"/>
            <p:cNvSpPr>
              <a:spLocks noChangeArrowheads="1"/>
            </p:cNvSpPr>
            <p:nvPr/>
          </p:nvSpPr>
          <p:spPr bwMode="auto">
            <a:xfrm>
              <a:off x="5768214" y="3340587"/>
              <a:ext cx="314820" cy="571587"/>
            </a:xfrm>
            <a:prstGeom prst="can">
              <a:avLst>
                <a:gd name="adj" fmla="val 5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en-US" altLang="zh-CN" sz="1000" dirty="0">
                  <a:latin typeface="微软雅黑" charset="0"/>
                  <a:ea typeface="微软雅黑" charset="0"/>
                </a:rPr>
                <a:t>  </a:t>
              </a:r>
              <a:r>
                <a:rPr lang="zh-CN" altLang="en-US" sz="1000" dirty="0">
                  <a:latin typeface="微软雅黑" charset="0"/>
                  <a:ea typeface="微软雅黑" charset="0"/>
                </a:rPr>
                <a:t>产品</a:t>
              </a:r>
            </a:p>
            <a:p>
              <a:r>
                <a:rPr lang="zh-CN" altLang="en-US" sz="1000" dirty="0">
                  <a:latin typeface="微软雅黑" charset="0"/>
                  <a:ea typeface="微软雅黑" charset="0"/>
                </a:rPr>
                <a:t>  中心</a:t>
              </a:r>
            </a:p>
          </p:txBody>
        </p:sp>
        <p:sp>
          <p:nvSpPr>
            <p:cNvPr id="428" name="AutoShape 26"/>
            <p:cNvSpPr>
              <a:spLocks noChangeArrowheads="1"/>
            </p:cNvSpPr>
            <p:nvPr/>
          </p:nvSpPr>
          <p:spPr bwMode="auto">
            <a:xfrm>
              <a:off x="6165402" y="3329906"/>
              <a:ext cx="310262" cy="595186"/>
            </a:xfrm>
            <a:prstGeom prst="can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tx2">
                  <a:lumMod val="75000"/>
                </a:schemeClr>
              </a:solidFill>
              <a:round/>
            </a:ln>
          </p:spPr>
          <p:txBody>
            <a:bodyPr wrap="none" anchor="ctr"/>
            <a:lstStyle/>
            <a:p>
              <a:r>
                <a:rPr lang="en-US" altLang="zh-CN" sz="1000" dirty="0">
                  <a:latin typeface="黑体" pitchFamily="49" charset="-122"/>
                  <a:ea typeface="黑体" pitchFamily="49" charset="-122"/>
                </a:rPr>
                <a:t> </a:t>
              </a:r>
              <a:r>
                <a:rPr lang="zh-CN" altLang="en-US" sz="1000" dirty="0">
                  <a:latin typeface="微软雅黑" charset="0"/>
                  <a:ea typeface="微软雅黑" charset="0"/>
                </a:rPr>
                <a:t>社区</a:t>
              </a:r>
            </a:p>
          </p:txBody>
        </p:sp>
      </p:grpSp>
      <p:sp>
        <p:nvSpPr>
          <p:cNvPr id="429" name="AutoShape 26"/>
          <p:cNvSpPr>
            <a:spLocks noChangeArrowheads="1"/>
          </p:cNvSpPr>
          <p:nvPr/>
        </p:nvSpPr>
        <p:spPr bwMode="auto">
          <a:xfrm>
            <a:off x="9832975" y="3064510"/>
            <a:ext cx="620395" cy="1496695"/>
          </a:xfrm>
          <a:prstGeom prst="can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en-US" altLang="zh-CN" sz="1000" dirty="0">
                <a:latin typeface="微软雅黑" charset="0"/>
                <a:ea typeface="微软雅黑" charset="0"/>
              </a:rPr>
              <a:t>  </a:t>
            </a:r>
            <a:r>
              <a:rPr lang="zh-CN" altLang="en-US" sz="1000" dirty="0">
                <a:latin typeface="微软雅黑" charset="0"/>
                <a:ea typeface="微软雅黑" charset="0"/>
              </a:rPr>
              <a:t>积分</a:t>
            </a:r>
          </a:p>
          <a:p>
            <a:r>
              <a:rPr lang="zh-CN" altLang="en-US" sz="1000" dirty="0">
                <a:latin typeface="微软雅黑" charset="0"/>
                <a:ea typeface="微软雅黑" charset="0"/>
              </a:rPr>
              <a:t>  商城</a:t>
            </a:r>
          </a:p>
        </p:txBody>
      </p:sp>
      <p:sp>
        <p:nvSpPr>
          <p:cNvPr id="430" name="AutoShape 26"/>
          <p:cNvSpPr>
            <a:spLocks noChangeArrowheads="1"/>
          </p:cNvSpPr>
          <p:nvPr/>
        </p:nvSpPr>
        <p:spPr bwMode="auto">
          <a:xfrm>
            <a:off x="9105265" y="3080385"/>
            <a:ext cx="598170" cy="1465580"/>
          </a:xfrm>
          <a:prstGeom prst="can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en-US" altLang="zh-CN" sz="1000" dirty="0">
                <a:latin typeface="微软雅黑" charset="0"/>
                <a:ea typeface="微软雅黑" charset="0"/>
              </a:rPr>
              <a:t>  </a:t>
            </a:r>
            <a:r>
              <a:rPr lang="zh-CN" altLang="en-US" sz="1000" dirty="0">
                <a:latin typeface="微软雅黑" charset="0"/>
                <a:ea typeface="微软雅黑" charset="0"/>
              </a:rPr>
              <a:t>应用</a:t>
            </a:r>
          </a:p>
          <a:p>
            <a:r>
              <a:rPr lang="zh-CN" altLang="en-US" sz="1000" dirty="0">
                <a:latin typeface="微软雅黑" charset="0"/>
                <a:ea typeface="微软雅黑" charset="0"/>
              </a:rPr>
              <a:t>  市场</a:t>
            </a:r>
          </a:p>
        </p:txBody>
      </p:sp>
      <p:sp>
        <p:nvSpPr>
          <p:cNvPr id="431" name="TextBox 117"/>
          <p:cNvSpPr txBox="1"/>
          <p:nvPr/>
        </p:nvSpPr>
        <p:spPr>
          <a:xfrm>
            <a:off x="7118985" y="2593340"/>
            <a:ext cx="2952115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latin typeface="微软雅黑" charset="0"/>
                <a:ea typeface="微软雅黑" charset="0"/>
              </a:rPr>
              <a:t>服务中心</a:t>
            </a:r>
          </a:p>
        </p:txBody>
      </p:sp>
      <p:sp>
        <p:nvSpPr>
          <p:cNvPr id="433" name="文本框 432"/>
          <p:cNvSpPr txBox="1"/>
          <p:nvPr/>
        </p:nvSpPr>
        <p:spPr>
          <a:xfrm>
            <a:off x="2453640" y="1262380"/>
            <a:ext cx="1280160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latin typeface="微软雅黑" charset="0"/>
                <a:ea typeface="微软雅黑" charset="0"/>
              </a:rPr>
              <a:t>学生</a:t>
            </a:r>
          </a:p>
        </p:txBody>
      </p:sp>
      <p:sp>
        <p:nvSpPr>
          <p:cNvPr id="434" name="文本框 433"/>
          <p:cNvSpPr txBox="1"/>
          <p:nvPr/>
        </p:nvSpPr>
        <p:spPr>
          <a:xfrm>
            <a:off x="8372475" y="1262380"/>
            <a:ext cx="1280160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latin typeface="微软雅黑" charset="0"/>
                <a:ea typeface="微软雅黑" charset="0"/>
              </a:rPr>
              <a:t>其它</a:t>
            </a:r>
          </a:p>
        </p:txBody>
      </p:sp>
      <p:sp>
        <p:nvSpPr>
          <p:cNvPr id="435" name="文本框 434"/>
          <p:cNvSpPr txBox="1"/>
          <p:nvPr/>
        </p:nvSpPr>
        <p:spPr>
          <a:xfrm>
            <a:off x="6399530" y="1262380"/>
            <a:ext cx="1280160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latin typeface="微软雅黑" charset="0"/>
                <a:ea typeface="微软雅黑" charset="0"/>
              </a:rPr>
              <a:t>公司人员</a:t>
            </a:r>
          </a:p>
        </p:txBody>
      </p:sp>
      <p:sp>
        <p:nvSpPr>
          <p:cNvPr id="436" name="文本框 435"/>
          <p:cNvSpPr txBox="1"/>
          <p:nvPr/>
        </p:nvSpPr>
        <p:spPr>
          <a:xfrm>
            <a:off x="4426585" y="1262380"/>
            <a:ext cx="1280160" cy="287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latin typeface="微软雅黑" charset="0"/>
                <a:ea typeface="微软雅黑" charset="0"/>
              </a:rPr>
              <a:t>教师</a:t>
            </a:r>
          </a:p>
        </p:txBody>
      </p:sp>
      <p:sp>
        <p:nvSpPr>
          <p:cNvPr id="2" name="AutoShape 26"/>
          <p:cNvSpPr>
            <a:spLocks noChangeArrowheads="1"/>
          </p:cNvSpPr>
          <p:nvPr/>
        </p:nvSpPr>
        <p:spPr bwMode="auto">
          <a:xfrm>
            <a:off x="2649220" y="3166744"/>
            <a:ext cx="640079" cy="1019811"/>
          </a:xfrm>
          <a:prstGeom prst="can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en-US" altLang="zh-CN" sz="1000" dirty="0">
                <a:latin typeface="微软雅黑" charset="0"/>
                <a:ea typeface="微软雅黑" charset="0"/>
              </a:rPr>
              <a:t>  </a:t>
            </a:r>
            <a:r>
              <a:rPr lang="zh-CN" altLang="en-US" sz="1000" dirty="0">
                <a:latin typeface="微软雅黑" charset="0"/>
                <a:ea typeface="微软雅黑" charset="0"/>
              </a:rPr>
              <a:t>用户</a:t>
            </a:r>
          </a:p>
          <a:p>
            <a:r>
              <a:rPr lang="zh-CN" altLang="en-US" sz="1000" dirty="0">
                <a:latin typeface="微软雅黑" charset="0"/>
                <a:ea typeface="微软雅黑" charset="0"/>
              </a:rPr>
              <a:t>  分析</a:t>
            </a:r>
          </a:p>
        </p:txBody>
      </p:sp>
      <p:sp>
        <p:nvSpPr>
          <p:cNvPr id="3" name="AutoShape 26"/>
          <p:cNvSpPr>
            <a:spLocks noChangeArrowheads="1"/>
          </p:cNvSpPr>
          <p:nvPr/>
        </p:nvSpPr>
        <p:spPr bwMode="auto">
          <a:xfrm>
            <a:off x="4138294" y="3152774"/>
            <a:ext cx="614045" cy="1033781"/>
          </a:xfrm>
          <a:prstGeom prst="can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en-US" altLang="zh-CN" sz="1000" dirty="0">
                <a:latin typeface="微软雅黑" charset="0"/>
                <a:ea typeface="微软雅黑" charset="0"/>
              </a:rPr>
              <a:t>  </a:t>
            </a:r>
            <a:r>
              <a:rPr lang="zh-CN" altLang="en-US" sz="1000" dirty="0">
                <a:latin typeface="微软雅黑" charset="0"/>
                <a:ea typeface="微软雅黑" charset="0"/>
              </a:rPr>
              <a:t>使用</a:t>
            </a:r>
          </a:p>
          <a:p>
            <a:r>
              <a:rPr lang="zh-CN" altLang="en-US" sz="1000" dirty="0">
                <a:latin typeface="微软雅黑" charset="0"/>
                <a:ea typeface="微软雅黑" charset="0"/>
              </a:rPr>
              <a:t>  分析</a:t>
            </a:r>
          </a:p>
        </p:txBody>
      </p:sp>
      <p:sp>
        <p:nvSpPr>
          <p:cNvPr id="4" name="AutoShape 26"/>
          <p:cNvSpPr>
            <a:spLocks noChangeArrowheads="1"/>
          </p:cNvSpPr>
          <p:nvPr/>
        </p:nvSpPr>
        <p:spPr bwMode="auto">
          <a:xfrm>
            <a:off x="5458460" y="3156584"/>
            <a:ext cx="640079" cy="1029971"/>
          </a:xfrm>
          <a:prstGeom prst="can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2">
                <a:lumMod val="75000"/>
              </a:schemeClr>
            </a:solidFill>
            <a:round/>
          </a:ln>
        </p:spPr>
        <p:txBody>
          <a:bodyPr wrap="none" anchor="ctr"/>
          <a:lstStyle/>
          <a:p>
            <a:r>
              <a:rPr lang="en-US" altLang="zh-CN" sz="1000" dirty="0">
                <a:latin typeface="微软雅黑" charset="0"/>
                <a:ea typeface="微软雅黑" charset="0"/>
              </a:rPr>
              <a:t>  </a:t>
            </a:r>
            <a:r>
              <a:rPr lang="zh-CN" altLang="en-US" sz="1000" dirty="0">
                <a:latin typeface="微软雅黑" charset="0"/>
                <a:ea typeface="微软雅黑" charset="0"/>
              </a:rPr>
              <a:t>基本</a:t>
            </a:r>
          </a:p>
          <a:p>
            <a:r>
              <a:rPr lang="zh-CN" altLang="en-US" sz="1000" dirty="0">
                <a:latin typeface="微软雅黑" charset="0"/>
                <a:ea typeface="微软雅黑" charset="0"/>
              </a:rPr>
              <a:t>  指标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562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服务三期建设规划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5619666"/>
              </p:ext>
            </p:extLst>
          </p:nvPr>
        </p:nvGraphicFramePr>
        <p:xfrm>
          <a:off x="1746250" y="1214436"/>
          <a:ext cx="8128000" cy="4957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1239441"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rgbClr val="FF6064"/>
                        </a:solidFill>
                      </a:endParaRPr>
                    </a:p>
                  </a:txBody>
                  <a:tcPr>
                    <a:solidFill>
                      <a:srgbClr val="FF606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24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/>
                      <a:r>
                        <a:rPr lang="zh-CN" altLang="en-US" sz="2400" dirty="0" smtClean="0">
                          <a:latin typeface="微软雅黑" pitchFamily="34" charset="-122"/>
                          <a:ea typeface="微软雅黑" pitchFamily="34" charset="-122"/>
                        </a:rPr>
                        <a:t>一</a:t>
                      </a:r>
                      <a:r>
                        <a:rPr lang="zh-CN" altLang="en-US" sz="24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期</a:t>
                      </a:r>
                      <a:endParaRPr lang="zh-CN" altLang="en-US" sz="2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>
                    <a:solidFill>
                      <a:srgbClr val="FF606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24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/>
                      <a:r>
                        <a:rPr lang="zh-CN" altLang="en-US" sz="2400" dirty="0" smtClean="0">
                          <a:latin typeface="微软雅黑" pitchFamily="34" charset="-122"/>
                          <a:ea typeface="微软雅黑" pitchFamily="34" charset="-122"/>
                        </a:rPr>
                        <a:t>二期</a:t>
                      </a:r>
                      <a:endParaRPr lang="zh-CN" altLang="en-US" sz="2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solidFill>
                      <a:srgbClr val="FF606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24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/>
                      <a:r>
                        <a:rPr lang="zh-CN" altLang="en-US" sz="2400" dirty="0" smtClean="0">
                          <a:latin typeface="微软雅黑" pitchFamily="34" charset="-122"/>
                          <a:ea typeface="微软雅黑" pitchFamily="34" charset="-122"/>
                        </a:rPr>
                        <a:t>三期</a:t>
                      </a:r>
                      <a:endParaRPr lang="zh-CN" altLang="en-US" sz="2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solidFill>
                      <a:srgbClr val="FF6064"/>
                    </a:solidFill>
                  </a:tcPr>
                </a:tc>
              </a:tr>
              <a:tr h="12394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>
                          <a:latin typeface="微软雅黑" pitchFamily="34" charset="-122"/>
                          <a:ea typeface="微软雅黑" pitchFamily="34" charset="-122"/>
                        </a:rPr>
                        <a:t>数据中心</a:t>
                      </a:r>
                    </a:p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数据采集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一键注册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使用分析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用户分析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错误分析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渠道和版本分析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应用数据决策中心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</a:tr>
              <a:tr h="1239441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资源中心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资源库建立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资源上传下载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资源访问管理平台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分开访问接口</a:t>
                      </a:r>
                    </a:p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资源服务中心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</a:tr>
              <a:tr h="1239441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服务中心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基础活跃数查询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dirty="0" smtClean="0">
                          <a:latin typeface="微软雅黑" pitchFamily="34" charset="-122"/>
                          <a:ea typeface="微软雅黑" pitchFamily="34" charset="-122"/>
                        </a:rPr>
                        <a:t>APK</a:t>
                      </a:r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推送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err="1" smtClean="0">
                          <a:latin typeface="微软雅黑" pitchFamily="34" charset="-122"/>
                          <a:ea typeface="微软雅黑" pitchFamily="34" charset="-122"/>
                        </a:rPr>
                        <a:t>Appstore</a:t>
                      </a:r>
                      <a:endParaRPr lang="en-US" altLang="zh-CN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门户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爱丁统一互联网社区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562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一期功能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一键注册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976517" y="2044006"/>
            <a:ext cx="1080000" cy="1080000"/>
            <a:chOff x="1262422" y="2480105"/>
            <a:chExt cx="1080000" cy="1080000"/>
          </a:xfrm>
        </p:grpSpPr>
        <p:sp>
          <p:nvSpPr>
            <p:cNvPr id="5" name="Rectangle 51"/>
            <p:cNvSpPr/>
            <p:nvPr/>
          </p:nvSpPr>
          <p:spPr>
            <a:xfrm rot="2868705">
              <a:off x="1262422" y="2480105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6" name="Freeform 5"/>
            <p:cNvSpPr>
              <a:spLocks noChangeAspect="1" noEditPoints="1"/>
            </p:cNvSpPr>
            <p:nvPr/>
          </p:nvSpPr>
          <p:spPr bwMode="auto">
            <a:xfrm>
              <a:off x="1495115" y="2688262"/>
              <a:ext cx="603921" cy="723294"/>
            </a:xfrm>
            <a:custGeom>
              <a:avLst/>
              <a:gdLst>
                <a:gd name="T0" fmla="*/ 32 w 432"/>
                <a:gd name="T1" fmla="*/ 420 h 508"/>
                <a:gd name="T2" fmla="*/ 258 w 432"/>
                <a:gd name="T3" fmla="*/ 420 h 508"/>
                <a:gd name="T4" fmla="*/ 258 w 432"/>
                <a:gd name="T5" fmla="*/ 452 h 508"/>
                <a:gd name="T6" fmla="*/ 0 w 432"/>
                <a:gd name="T7" fmla="*/ 452 h 508"/>
                <a:gd name="T8" fmla="*/ 0 w 432"/>
                <a:gd name="T9" fmla="*/ 120 h 508"/>
                <a:gd name="T10" fmla="*/ 120 w 432"/>
                <a:gd name="T11" fmla="*/ 0 h 508"/>
                <a:gd name="T12" fmla="*/ 352 w 432"/>
                <a:gd name="T13" fmla="*/ 0 h 508"/>
                <a:gd name="T14" fmla="*/ 352 w 432"/>
                <a:gd name="T15" fmla="*/ 150 h 508"/>
                <a:gd name="T16" fmla="*/ 320 w 432"/>
                <a:gd name="T17" fmla="*/ 150 h 508"/>
                <a:gd name="T18" fmla="*/ 320 w 432"/>
                <a:gd name="T19" fmla="*/ 32 h 508"/>
                <a:gd name="T20" fmla="*/ 136 w 432"/>
                <a:gd name="T21" fmla="*/ 32 h 508"/>
                <a:gd name="T22" fmla="*/ 136 w 432"/>
                <a:gd name="T23" fmla="*/ 136 h 508"/>
                <a:gd name="T24" fmla="*/ 32 w 432"/>
                <a:gd name="T25" fmla="*/ 136 h 508"/>
                <a:gd name="T26" fmla="*/ 32 w 432"/>
                <a:gd name="T27" fmla="*/ 420 h 508"/>
                <a:gd name="T28" fmla="*/ 303 w 432"/>
                <a:gd name="T29" fmla="*/ 236 h 508"/>
                <a:gd name="T30" fmla="*/ 303 w 432"/>
                <a:gd name="T31" fmla="*/ 236 h 508"/>
                <a:gd name="T32" fmla="*/ 284 w 432"/>
                <a:gd name="T33" fmla="*/ 265 h 508"/>
                <a:gd name="T34" fmla="*/ 284 w 432"/>
                <a:gd name="T35" fmla="*/ 265 h 508"/>
                <a:gd name="T36" fmla="*/ 272 w 432"/>
                <a:gd name="T37" fmla="*/ 277 h 508"/>
                <a:gd name="T38" fmla="*/ 259 w 432"/>
                <a:gd name="T39" fmla="*/ 265 h 508"/>
                <a:gd name="T40" fmla="*/ 259 w 432"/>
                <a:gd name="T41" fmla="*/ 263 h 508"/>
                <a:gd name="T42" fmla="*/ 296 w 432"/>
                <a:gd name="T43" fmla="*/ 213 h 508"/>
                <a:gd name="T44" fmla="*/ 298 w 432"/>
                <a:gd name="T45" fmla="*/ 212 h 508"/>
                <a:gd name="T46" fmla="*/ 311 w 432"/>
                <a:gd name="T47" fmla="*/ 225 h 508"/>
                <a:gd name="T48" fmla="*/ 303 w 432"/>
                <a:gd name="T49" fmla="*/ 236 h 508"/>
                <a:gd name="T50" fmla="*/ 330 w 432"/>
                <a:gd name="T51" fmla="*/ 180 h 508"/>
                <a:gd name="T52" fmla="*/ 329 w 432"/>
                <a:gd name="T53" fmla="*/ 180 h 508"/>
                <a:gd name="T54" fmla="*/ 229 w 432"/>
                <a:gd name="T55" fmla="*/ 275 h 508"/>
                <a:gd name="T56" fmla="*/ 265 w 432"/>
                <a:gd name="T57" fmla="*/ 353 h 508"/>
                <a:gd name="T58" fmla="*/ 273 w 432"/>
                <a:gd name="T59" fmla="*/ 371 h 508"/>
                <a:gd name="T60" fmla="*/ 276 w 432"/>
                <a:gd name="T61" fmla="*/ 390 h 508"/>
                <a:gd name="T62" fmla="*/ 289 w 432"/>
                <a:gd name="T63" fmla="*/ 419 h 508"/>
                <a:gd name="T64" fmla="*/ 374 w 432"/>
                <a:gd name="T65" fmla="*/ 419 h 508"/>
                <a:gd name="T66" fmla="*/ 386 w 432"/>
                <a:gd name="T67" fmla="*/ 390 h 508"/>
                <a:gd name="T68" fmla="*/ 397 w 432"/>
                <a:gd name="T69" fmla="*/ 353 h 508"/>
                <a:gd name="T70" fmla="*/ 415 w 432"/>
                <a:gd name="T71" fmla="*/ 322 h 508"/>
                <a:gd name="T72" fmla="*/ 432 w 432"/>
                <a:gd name="T73" fmla="*/ 275 h 508"/>
                <a:gd name="T74" fmla="*/ 330 w 432"/>
                <a:gd name="T75" fmla="*/ 180 h 508"/>
                <a:gd name="T76" fmla="*/ 311 w 432"/>
                <a:gd name="T77" fmla="*/ 499 h 508"/>
                <a:gd name="T78" fmla="*/ 324 w 432"/>
                <a:gd name="T79" fmla="*/ 508 h 508"/>
                <a:gd name="T80" fmla="*/ 342 w 432"/>
                <a:gd name="T81" fmla="*/ 508 h 508"/>
                <a:gd name="T82" fmla="*/ 354 w 432"/>
                <a:gd name="T83" fmla="*/ 499 h 508"/>
                <a:gd name="T84" fmla="*/ 311 w 432"/>
                <a:gd name="T85" fmla="*/ 499 h 508"/>
                <a:gd name="T86" fmla="*/ 364 w 432"/>
                <a:gd name="T87" fmla="*/ 465 h 508"/>
                <a:gd name="T88" fmla="*/ 300 w 432"/>
                <a:gd name="T89" fmla="*/ 465 h 508"/>
                <a:gd name="T90" fmla="*/ 287 w 432"/>
                <a:gd name="T91" fmla="*/ 476 h 508"/>
                <a:gd name="T92" fmla="*/ 301 w 432"/>
                <a:gd name="T93" fmla="*/ 488 h 508"/>
                <a:gd name="T94" fmla="*/ 364 w 432"/>
                <a:gd name="T95" fmla="*/ 488 h 508"/>
                <a:gd name="T96" fmla="*/ 378 w 432"/>
                <a:gd name="T97" fmla="*/ 476 h 508"/>
                <a:gd name="T98" fmla="*/ 364 w 432"/>
                <a:gd name="T99" fmla="*/ 465 h 508"/>
                <a:gd name="T100" fmla="*/ 364 w 432"/>
                <a:gd name="T101" fmla="*/ 430 h 508"/>
                <a:gd name="T102" fmla="*/ 300 w 432"/>
                <a:gd name="T103" fmla="*/ 430 h 508"/>
                <a:gd name="T104" fmla="*/ 287 w 432"/>
                <a:gd name="T105" fmla="*/ 442 h 508"/>
                <a:gd name="T106" fmla="*/ 301 w 432"/>
                <a:gd name="T107" fmla="*/ 453 h 508"/>
                <a:gd name="T108" fmla="*/ 364 w 432"/>
                <a:gd name="T109" fmla="*/ 453 h 508"/>
                <a:gd name="T110" fmla="*/ 378 w 432"/>
                <a:gd name="T111" fmla="*/ 442 h 508"/>
                <a:gd name="T112" fmla="*/ 364 w 432"/>
                <a:gd name="T113" fmla="*/ 43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508">
                  <a:moveTo>
                    <a:pt x="32" y="420"/>
                  </a:moveTo>
                  <a:cubicBezTo>
                    <a:pt x="258" y="420"/>
                    <a:pt x="258" y="420"/>
                    <a:pt x="258" y="420"/>
                  </a:cubicBezTo>
                  <a:cubicBezTo>
                    <a:pt x="258" y="452"/>
                    <a:pt x="258" y="452"/>
                    <a:pt x="258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352" y="0"/>
                    <a:pt x="352" y="0"/>
                    <a:pt x="352" y="0"/>
                  </a:cubicBezTo>
                  <a:cubicBezTo>
                    <a:pt x="352" y="150"/>
                    <a:pt x="352" y="150"/>
                    <a:pt x="352" y="150"/>
                  </a:cubicBezTo>
                  <a:cubicBezTo>
                    <a:pt x="320" y="150"/>
                    <a:pt x="320" y="150"/>
                    <a:pt x="320" y="150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32" y="136"/>
                    <a:pt x="32" y="136"/>
                    <a:pt x="32" y="136"/>
                  </a:cubicBezTo>
                  <a:lnTo>
                    <a:pt x="32" y="420"/>
                  </a:lnTo>
                  <a:close/>
                  <a:moveTo>
                    <a:pt x="303" y="236"/>
                  </a:moveTo>
                  <a:cubicBezTo>
                    <a:pt x="303" y="236"/>
                    <a:pt x="303" y="236"/>
                    <a:pt x="303" y="236"/>
                  </a:cubicBezTo>
                  <a:cubicBezTo>
                    <a:pt x="290" y="240"/>
                    <a:pt x="285" y="254"/>
                    <a:pt x="284" y="265"/>
                  </a:cubicBezTo>
                  <a:cubicBezTo>
                    <a:pt x="284" y="265"/>
                    <a:pt x="284" y="265"/>
                    <a:pt x="284" y="265"/>
                  </a:cubicBezTo>
                  <a:cubicBezTo>
                    <a:pt x="284" y="272"/>
                    <a:pt x="278" y="277"/>
                    <a:pt x="272" y="277"/>
                  </a:cubicBezTo>
                  <a:cubicBezTo>
                    <a:pt x="265" y="277"/>
                    <a:pt x="259" y="272"/>
                    <a:pt x="259" y="265"/>
                  </a:cubicBezTo>
                  <a:cubicBezTo>
                    <a:pt x="259" y="264"/>
                    <a:pt x="259" y="263"/>
                    <a:pt x="259" y="263"/>
                  </a:cubicBezTo>
                  <a:cubicBezTo>
                    <a:pt x="261" y="238"/>
                    <a:pt x="275" y="218"/>
                    <a:pt x="296" y="213"/>
                  </a:cubicBezTo>
                  <a:cubicBezTo>
                    <a:pt x="296" y="213"/>
                    <a:pt x="297" y="212"/>
                    <a:pt x="298" y="212"/>
                  </a:cubicBezTo>
                  <a:cubicBezTo>
                    <a:pt x="305" y="212"/>
                    <a:pt x="311" y="218"/>
                    <a:pt x="311" y="225"/>
                  </a:cubicBezTo>
                  <a:cubicBezTo>
                    <a:pt x="311" y="230"/>
                    <a:pt x="307" y="235"/>
                    <a:pt x="303" y="236"/>
                  </a:cubicBezTo>
                  <a:close/>
                  <a:moveTo>
                    <a:pt x="330" y="180"/>
                  </a:moveTo>
                  <a:cubicBezTo>
                    <a:pt x="330" y="180"/>
                    <a:pt x="330" y="180"/>
                    <a:pt x="329" y="180"/>
                  </a:cubicBezTo>
                  <a:cubicBezTo>
                    <a:pt x="274" y="180"/>
                    <a:pt x="229" y="222"/>
                    <a:pt x="229" y="275"/>
                  </a:cubicBezTo>
                  <a:cubicBezTo>
                    <a:pt x="229" y="305"/>
                    <a:pt x="253" y="326"/>
                    <a:pt x="265" y="353"/>
                  </a:cubicBezTo>
                  <a:cubicBezTo>
                    <a:pt x="269" y="360"/>
                    <a:pt x="271" y="365"/>
                    <a:pt x="273" y="371"/>
                  </a:cubicBezTo>
                  <a:cubicBezTo>
                    <a:pt x="275" y="378"/>
                    <a:pt x="275" y="384"/>
                    <a:pt x="276" y="390"/>
                  </a:cubicBezTo>
                  <a:cubicBezTo>
                    <a:pt x="278" y="401"/>
                    <a:pt x="280" y="411"/>
                    <a:pt x="289" y="419"/>
                  </a:cubicBezTo>
                  <a:cubicBezTo>
                    <a:pt x="289" y="419"/>
                    <a:pt x="374" y="419"/>
                    <a:pt x="374" y="419"/>
                  </a:cubicBezTo>
                  <a:cubicBezTo>
                    <a:pt x="384" y="412"/>
                    <a:pt x="385" y="401"/>
                    <a:pt x="386" y="390"/>
                  </a:cubicBezTo>
                  <a:cubicBezTo>
                    <a:pt x="388" y="379"/>
                    <a:pt x="389" y="368"/>
                    <a:pt x="397" y="353"/>
                  </a:cubicBezTo>
                  <a:cubicBezTo>
                    <a:pt x="402" y="342"/>
                    <a:pt x="409" y="332"/>
                    <a:pt x="415" y="322"/>
                  </a:cubicBezTo>
                  <a:cubicBezTo>
                    <a:pt x="424" y="308"/>
                    <a:pt x="432" y="293"/>
                    <a:pt x="432" y="275"/>
                  </a:cubicBezTo>
                  <a:cubicBezTo>
                    <a:pt x="432" y="222"/>
                    <a:pt x="386" y="180"/>
                    <a:pt x="330" y="180"/>
                  </a:cubicBezTo>
                  <a:close/>
                  <a:moveTo>
                    <a:pt x="311" y="499"/>
                  </a:moveTo>
                  <a:cubicBezTo>
                    <a:pt x="311" y="499"/>
                    <a:pt x="313" y="508"/>
                    <a:pt x="324" y="508"/>
                  </a:cubicBezTo>
                  <a:cubicBezTo>
                    <a:pt x="342" y="508"/>
                    <a:pt x="342" y="508"/>
                    <a:pt x="342" y="508"/>
                  </a:cubicBezTo>
                  <a:cubicBezTo>
                    <a:pt x="352" y="508"/>
                    <a:pt x="354" y="499"/>
                    <a:pt x="354" y="499"/>
                  </a:cubicBezTo>
                  <a:lnTo>
                    <a:pt x="311" y="499"/>
                  </a:lnTo>
                  <a:close/>
                  <a:moveTo>
                    <a:pt x="364" y="465"/>
                  </a:moveTo>
                  <a:cubicBezTo>
                    <a:pt x="300" y="465"/>
                    <a:pt x="300" y="465"/>
                    <a:pt x="300" y="465"/>
                  </a:cubicBezTo>
                  <a:cubicBezTo>
                    <a:pt x="293" y="465"/>
                    <a:pt x="287" y="470"/>
                    <a:pt x="287" y="476"/>
                  </a:cubicBezTo>
                  <a:cubicBezTo>
                    <a:pt x="287" y="483"/>
                    <a:pt x="293" y="488"/>
                    <a:pt x="301" y="488"/>
                  </a:cubicBezTo>
                  <a:cubicBezTo>
                    <a:pt x="301" y="488"/>
                    <a:pt x="364" y="488"/>
                    <a:pt x="364" y="488"/>
                  </a:cubicBezTo>
                  <a:cubicBezTo>
                    <a:pt x="372" y="488"/>
                    <a:pt x="378" y="483"/>
                    <a:pt x="378" y="476"/>
                  </a:cubicBezTo>
                  <a:cubicBezTo>
                    <a:pt x="378" y="470"/>
                    <a:pt x="372" y="465"/>
                    <a:pt x="364" y="465"/>
                  </a:cubicBezTo>
                  <a:close/>
                  <a:moveTo>
                    <a:pt x="364" y="430"/>
                  </a:moveTo>
                  <a:cubicBezTo>
                    <a:pt x="300" y="430"/>
                    <a:pt x="300" y="430"/>
                    <a:pt x="300" y="430"/>
                  </a:cubicBezTo>
                  <a:cubicBezTo>
                    <a:pt x="293" y="430"/>
                    <a:pt x="287" y="435"/>
                    <a:pt x="287" y="442"/>
                  </a:cubicBezTo>
                  <a:cubicBezTo>
                    <a:pt x="287" y="448"/>
                    <a:pt x="293" y="453"/>
                    <a:pt x="301" y="453"/>
                  </a:cubicBezTo>
                  <a:cubicBezTo>
                    <a:pt x="302" y="453"/>
                    <a:pt x="364" y="453"/>
                    <a:pt x="364" y="453"/>
                  </a:cubicBezTo>
                  <a:cubicBezTo>
                    <a:pt x="372" y="453"/>
                    <a:pt x="378" y="448"/>
                    <a:pt x="378" y="442"/>
                  </a:cubicBezTo>
                  <a:cubicBezTo>
                    <a:pt x="378" y="435"/>
                    <a:pt x="372" y="430"/>
                    <a:pt x="364" y="4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cxnSp>
        <p:nvCxnSpPr>
          <p:cNvPr id="4" name="直接连接符 3"/>
          <p:cNvCxnSpPr/>
          <p:nvPr/>
        </p:nvCxnSpPr>
        <p:spPr bwMode="auto">
          <a:xfrm flipV="1">
            <a:off x="3242174" y="2630658"/>
            <a:ext cx="1989151" cy="842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6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文本框 6"/>
          <p:cNvSpPr txBox="1"/>
          <p:nvPr/>
        </p:nvSpPr>
        <p:spPr>
          <a:xfrm>
            <a:off x="1753761" y="3516924"/>
            <a:ext cx="1749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一键注册信息预置，出厂的平板首先更新一键注册的信息，包括地区，学校等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51"/>
          <p:cNvSpPr/>
          <p:nvPr/>
        </p:nvSpPr>
        <p:spPr>
          <a:xfrm rot="2817829">
            <a:off x="5475187" y="2069269"/>
            <a:ext cx="1048497" cy="1122778"/>
          </a:xfrm>
          <a:prstGeom prst="rect">
            <a:avLst/>
          </a:prstGeom>
          <a:solidFill>
            <a:srgbClr val="FF6064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9" name="Freeform 11"/>
          <p:cNvSpPr>
            <a:spLocks noChangeAspect="1" noEditPoints="1"/>
          </p:cNvSpPr>
          <p:nvPr/>
        </p:nvSpPr>
        <p:spPr bwMode="auto">
          <a:xfrm>
            <a:off x="5731879" y="2310989"/>
            <a:ext cx="577300" cy="684934"/>
          </a:xfrm>
          <a:custGeom>
            <a:avLst/>
            <a:gdLst>
              <a:gd name="T0" fmla="*/ 120 w 432"/>
              <a:gd name="T1" fmla="*/ 56 h 508"/>
              <a:gd name="T2" fmla="*/ 352 w 432"/>
              <a:gd name="T3" fmla="*/ 452 h 508"/>
              <a:gd name="T4" fmla="*/ 32 w 432"/>
              <a:gd name="T5" fmla="*/ 476 h 508"/>
              <a:gd name="T6" fmla="*/ 320 w 432"/>
              <a:gd name="T7" fmla="*/ 452 h 508"/>
              <a:gd name="T8" fmla="*/ 112 w 432"/>
              <a:gd name="T9" fmla="*/ 136 h 508"/>
              <a:gd name="T10" fmla="*/ 400 w 432"/>
              <a:gd name="T11" fmla="*/ 420 h 508"/>
              <a:gd name="T12" fmla="*/ 153 w 432"/>
              <a:gd name="T13" fmla="*/ 202 h 508"/>
              <a:gd name="T14" fmla="*/ 177 w 432"/>
              <a:gd name="T15" fmla="*/ 202 h 508"/>
              <a:gd name="T16" fmla="*/ 177 w 432"/>
              <a:gd name="T17" fmla="*/ 202 h 508"/>
              <a:gd name="T18" fmla="*/ 209 w 432"/>
              <a:gd name="T19" fmla="*/ 217 h 508"/>
              <a:gd name="T20" fmla="*/ 220 w 432"/>
              <a:gd name="T21" fmla="*/ 177 h 508"/>
              <a:gd name="T22" fmla="*/ 273 w 432"/>
              <a:gd name="T23" fmla="*/ 225 h 508"/>
              <a:gd name="T24" fmla="*/ 252 w 432"/>
              <a:gd name="T25" fmla="*/ 187 h 508"/>
              <a:gd name="T26" fmla="*/ 263 w 432"/>
              <a:gd name="T27" fmla="*/ 217 h 508"/>
              <a:gd name="T28" fmla="*/ 312 w 432"/>
              <a:gd name="T29" fmla="*/ 220 h 508"/>
              <a:gd name="T30" fmla="*/ 300 w 432"/>
              <a:gd name="T31" fmla="*/ 177 h 508"/>
              <a:gd name="T32" fmla="*/ 293 w 432"/>
              <a:gd name="T33" fmla="*/ 202 h 508"/>
              <a:gd name="T34" fmla="*/ 355 w 432"/>
              <a:gd name="T35" fmla="*/ 220 h 508"/>
              <a:gd name="T36" fmla="*/ 343 w 432"/>
              <a:gd name="T37" fmla="*/ 177 h 508"/>
              <a:gd name="T38" fmla="*/ 336 w 432"/>
              <a:gd name="T39" fmla="*/ 202 h 508"/>
              <a:gd name="T40" fmla="*/ 156 w 432"/>
              <a:gd name="T41" fmla="*/ 302 h 508"/>
              <a:gd name="T42" fmla="*/ 156 w 432"/>
              <a:gd name="T43" fmla="*/ 266 h 508"/>
              <a:gd name="T44" fmla="*/ 186 w 432"/>
              <a:gd name="T45" fmla="*/ 293 h 508"/>
              <a:gd name="T46" fmla="*/ 213 w 432"/>
              <a:gd name="T47" fmla="*/ 303 h 508"/>
              <a:gd name="T48" fmla="*/ 231 w 432"/>
              <a:gd name="T49" fmla="*/ 278 h 508"/>
              <a:gd name="T50" fmla="*/ 213 w 432"/>
              <a:gd name="T51" fmla="*/ 295 h 508"/>
              <a:gd name="T52" fmla="*/ 256 w 432"/>
              <a:gd name="T53" fmla="*/ 303 h 508"/>
              <a:gd name="T54" fmla="*/ 274 w 432"/>
              <a:gd name="T55" fmla="*/ 278 h 508"/>
              <a:gd name="T56" fmla="*/ 256 w 432"/>
              <a:gd name="T57" fmla="*/ 295 h 508"/>
              <a:gd name="T58" fmla="*/ 286 w 432"/>
              <a:gd name="T59" fmla="*/ 293 h 508"/>
              <a:gd name="T60" fmla="*/ 285 w 432"/>
              <a:gd name="T61" fmla="*/ 257 h 508"/>
              <a:gd name="T62" fmla="*/ 316 w 432"/>
              <a:gd name="T63" fmla="*/ 302 h 508"/>
              <a:gd name="T64" fmla="*/ 325 w 432"/>
              <a:gd name="T65" fmla="*/ 279 h 508"/>
              <a:gd name="T66" fmla="*/ 349 w 432"/>
              <a:gd name="T67" fmla="*/ 278 h 508"/>
              <a:gd name="T68" fmla="*/ 349 w 432"/>
              <a:gd name="T69" fmla="*/ 278 h 508"/>
              <a:gd name="T70" fmla="*/ 153 w 432"/>
              <a:gd name="T71" fmla="*/ 355 h 508"/>
              <a:gd name="T72" fmla="*/ 177 w 432"/>
              <a:gd name="T73" fmla="*/ 354 h 508"/>
              <a:gd name="T74" fmla="*/ 177 w 432"/>
              <a:gd name="T75" fmla="*/ 354 h 508"/>
              <a:gd name="T76" fmla="*/ 196 w 432"/>
              <a:gd name="T77" fmla="*/ 355 h 508"/>
              <a:gd name="T78" fmla="*/ 220 w 432"/>
              <a:gd name="T79" fmla="*/ 354 h 508"/>
              <a:gd name="T80" fmla="*/ 220 w 432"/>
              <a:gd name="T81" fmla="*/ 354 h 508"/>
              <a:gd name="T82" fmla="*/ 252 w 432"/>
              <a:gd name="T83" fmla="*/ 370 h 508"/>
              <a:gd name="T84" fmla="*/ 263 w 432"/>
              <a:gd name="T85" fmla="*/ 330 h 508"/>
              <a:gd name="T86" fmla="*/ 317 w 432"/>
              <a:gd name="T87" fmla="*/ 354 h 508"/>
              <a:gd name="T88" fmla="*/ 287 w 432"/>
              <a:gd name="T89" fmla="*/ 336 h 508"/>
              <a:gd name="T90" fmla="*/ 300 w 432"/>
              <a:gd name="T91" fmla="*/ 338 h 508"/>
              <a:gd name="T92" fmla="*/ 359 w 432"/>
              <a:gd name="T93" fmla="*/ 378 h 508"/>
              <a:gd name="T94" fmla="*/ 339 w 432"/>
              <a:gd name="T95" fmla="*/ 340 h 508"/>
              <a:gd name="T96" fmla="*/ 349 w 432"/>
              <a:gd name="T97" fmla="*/ 37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2" h="508">
                <a:moveTo>
                  <a:pt x="432" y="0"/>
                </a:moveTo>
                <a:cubicBezTo>
                  <a:pt x="200" y="0"/>
                  <a:pt x="200" y="0"/>
                  <a:pt x="200" y="0"/>
                </a:cubicBezTo>
                <a:cubicBezTo>
                  <a:pt x="144" y="56"/>
                  <a:pt x="144" y="56"/>
                  <a:pt x="144" y="56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508"/>
                  <a:pt x="0" y="508"/>
                  <a:pt x="0" y="508"/>
                </a:cubicBezTo>
                <a:cubicBezTo>
                  <a:pt x="352" y="508"/>
                  <a:pt x="352" y="508"/>
                  <a:pt x="352" y="508"/>
                </a:cubicBezTo>
                <a:cubicBezTo>
                  <a:pt x="352" y="452"/>
                  <a:pt x="352" y="452"/>
                  <a:pt x="352" y="452"/>
                </a:cubicBezTo>
                <a:cubicBezTo>
                  <a:pt x="432" y="452"/>
                  <a:pt x="432" y="452"/>
                  <a:pt x="432" y="452"/>
                </a:cubicBezTo>
                <a:lnTo>
                  <a:pt x="432" y="0"/>
                </a:lnTo>
                <a:close/>
                <a:moveTo>
                  <a:pt x="320" y="476"/>
                </a:moveTo>
                <a:cubicBezTo>
                  <a:pt x="32" y="476"/>
                  <a:pt x="32" y="476"/>
                  <a:pt x="32" y="476"/>
                </a:cubicBezTo>
                <a:cubicBezTo>
                  <a:pt x="32" y="192"/>
                  <a:pt x="32" y="192"/>
                  <a:pt x="32" y="192"/>
                </a:cubicBezTo>
                <a:cubicBezTo>
                  <a:pt x="80" y="192"/>
                  <a:pt x="80" y="192"/>
                  <a:pt x="80" y="192"/>
                </a:cubicBezTo>
                <a:cubicBezTo>
                  <a:pt x="80" y="452"/>
                  <a:pt x="80" y="452"/>
                  <a:pt x="80" y="452"/>
                </a:cubicBezTo>
                <a:cubicBezTo>
                  <a:pt x="320" y="452"/>
                  <a:pt x="320" y="452"/>
                  <a:pt x="320" y="452"/>
                </a:cubicBezTo>
                <a:lnTo>
                  <a:pt x="320" y="476"/>
                </a:lnTo>
                <a:close/>
                <a:moveTo>
                  <a:pt x="400" y="420"/>
                </a:moveTo>
                <a:cubicBezTo>
                  <a:pt x="112" y="420"/>
                  <a:pt x="112" y="420"/>
                  <a:pt x="112" y="420"/>
                </a:cubicBezTo>
                <a:cubicBezTo>
                  <a:pt x="112" y="136"/>
                  <a:pt x="112" y="136"/>
                  <a:pt x="112" y="136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400" y="32"/>
                  <a:pt x="400" y="32"/>
                  <a:pt x="400" y="32"/>
                </a:cubicBezTo>
                <a:lnTo>
                  <a:pt x="400" y="420"/>
                </a:lnTo>
                <a:close/>
                <a:moveTo>
                  <a:pt x="187" y="201"/>
                </a:moveTo>
                <a:cubicBezTo>
                  <a:pt x="187" y="209"/>
                  <a:pt x="186" y="216"/>
                  <a:pt x="183" y="220"/>
                </a:cubicBezTo>
                <a:cubicBezTo>
                  <a:pt x="180" y="224"/>
                  <a:pt x="175" y="226"/>
                  <a:pt x="170" y="226"/>
                </a:cubicBezTo>
                <a:cubicBezTo>
                  <a:pt x="158" y="226"/>
                  <a:pt x="153" y="218"/>
                  <a:pt x="153" y="202"/>
                </a:cubicBezTo>
                <a:cubicBezTo>
                  <a:pt x="153" y="194"/>
                  <a:pt x="154" y="188"/>
                  <a:pt x="158" y="183"/>
                </a:cubicBezTo>
                <a:cubicBezTo>
                  <a:pt x="161" y="179"/>
                  <a:pt x="165" y="177"/>
                  <a:pt x="171" y="177"/>
                </a:cubicBezTo>
                <a:cubicBezTo>
                  <a:pt x="182" y="177"/>
                  <a:pt x="187" y="185"/>
                  <a:pt x="187" y="201"/>
                </a:cubicBezTo>
                <a:close/>
                <a:moveTo>
                  <a:pt x="177" y="202"/>
                </a:moveTo>
                <a:cubicBezTo>
                  <a:pt x="177" y="191"/>
                  <a:pt x="174" y="185"/>
                  <a:pt x="170" y="185"/>
                </a:cubicBezTo>
                <a:cubicBezTo>
                  <a:pt x="166" y="185"/>
                  <a:pt x="163" y="191"/>
                  <a:pt x="163" y="202"/>
                </a:cubicBezTo>
                <a:cubicBezTo>
                  <a:pt x="163" y="213"/>
                  <a:pt x="166" y="218"/>
                  <a:pt x="170" y="218"/>
                </a:cubicBezTo>
                <a:cubicBezTo>
                  <a:pt x="174" y="218"/>
                  <a:pt x="177" y="213"/>
                  <a:pt x="177" y="202"/>
                </a:cubicBezTo>
                <a:close/>
                <a:moveTo>
                  <a:pt x="229" y="225"/>
                </a:moveTo>
                <a:cubicBezTo>
                  <a:pt x="199" y="225"/>
                  <a:pt x="199" y="225"/>
                  <a:pt x="199" y="225"/>
                </a:cubicBezTo>
                <a:cubicBezTo>
                  <a:pt x="199" y="217"/>
                  <a:pt x="199" y="217"/>
                  <a:pt x="199" y="217"/>
                </a:cubicBezTo>
                <a:cubicBezTo>
                  <a:pt x="209" y="217"/>
                  <a:pt x="209" y="217"/>
                  <a:pt x="209" y="217"/>
                </a:cubicBezTo>
                <a:cubicBezTo>
                  <a:pt x="209" y="187"/>
                  <a:pt x="209" y="187"/>
                  <a:pt x="209" y="187"/>
                </a:cubicBezTo>
                <a:cubicBezTo>
                  <a:pt x="199" y="190"/>
                  <a:pt x="199" y="190"/>
                  <a:pt x="199" y="190"/>
                </a:cubicBezTo>
                <a:cubicBezTo>
                  <a:pt x="199" y="181"/>
                  <a:pt x="199" y="181"/>
                  <a:pt x="199" y="181"/>
                </a:cubicBezTo>
                <a:cubicBezTo>
                  <a:pt x="220" y="177"/>
                  <a:pt x="220" y="177"/>
                  <a:pt x="220" y="177"/>
                </a:cubicBezTo>
                <a:cubicBezTo>
                  <a:pt x="220" y="217"/>
                  <a:pt x="220" y="217"/>
                  <a:pt x="220" y="217"/>
                </a:cubicBezTo>
                <a:cubicBezTo>
                  <a:pt x="229" y="217"/>
                  <a:pt x="229" y="217"/>
                  <a:pt x="229" y="217"/>
                </a:cubicBezTo>
                <a:lnTo>
                  <a:pt x="229" y="225"/>
                </a:lnTo>
                <a:close/>
                <a:moveTo>
                  <a:pt x="273" y="225"/>
                </a:moveTo>
                <a:cubicBezTo>
                  <a:pt x="242" y="225"/>
                  <a:pt x="242" y="225"/>
                  <a:pt x="242" y="225"/>
                </a:cubicBezTo>
                <a:cubicBezTo>
                  <a:pt x="242" y="217"/>
                  <a:pt x="242" y="217"/>
                  <a:pt x="242" y="217"/>
                </a:cubicBezTo>
                <a:cubicBezTo>
                  <a:pt x="252" y="217"/>
                  <a:pt x="252" y="217"/>
                  <a:pt x="252" y="217"/>
                </a:cubicBezTo>
                <a:cubicBezTo>
                  <a:pt x="252" y="187"/>
                  <a:pt x="252" y="187"/>
                  <a:pt x="252" y="187"/>
                </a:cubicBezTo>
                <a:cubicBezTo>
                  <a:pt x="242" y="190"/>
                  <a:pt x="242" y="190"/>
                  <a:pt x="242" y="190"/>
                </a:cubicBezTo>
                <a:cubicBezTo>
                  <a:pt x="242" y="181"/>
                  <a:pt x="242" y="181"/>
                  <a:pt x="242" y="181"/>
                </a:cubicBezTo>
                <a:cubicBezTo>
                  <a:pt x="263" y="177"/>
                  <a:pt x="263" y="177"/>
                  <a:pt x="263" y="177"/>
                </a:cubicBezTo>
                <a:cubicBezTo>
                  <a:pt x="263" y="217"/>
                  <a:pt x="263" y="217"/>
                  <a:pt x="263" y="217"/>
                </a:cubicBezTo>
                <a:cubicBezTo>
                  <a:pt x="273" y="217"/>
                  <a:pt x="273" y="217"/>
                  <a:pt x="273" y="217"/>
                </a:cubicBezTo>
                <a:lnTo>
                  <a:pt x="273" y="225"/>
                </a:lnTo>
                <a:close/>
                <a:moveTo>
                  <a:pt x="317" y="201"/>
                </a:moveTo>
                <a:cubicBezTo>
                  <a:pt x="317" y="209"/>
                  <a:pt x="315" y="216"/>
                  <a:pt x="312" y="220"/>
                </a:cubicBezTo>
                <a:cubicBezTo>
                  <a:pt x="309" y="224"/>
                  <a:pt x="305" y="226"/>
                  <a:pt x="299" y="226"/>
                </a:cubicBezTo>
                <a:cubicBezTo>
                  <a:pt x="288" y="226"/>
                  <a:pt x="282" y="218"/>
                  <a:pt x="282" y="202"/>
                </a:cubicBezTo>
                <a:cubicBezTo>
                  <a:pt x="282" y="194"/>
                  <a:pt x="284" y="188"/>
                  <a:pt x="287" y="183"/>
                </a:cubicBezTo>
                <a:cubicBezTo>
                  <a:pt x="290" y="179"/>
                  <a:pt x="295" y="177"/>
                  <a:pt x="300" y="177"/>
                </a:cubicBezTo>
                <a:cubicBezTo>
                  <a:pt x="311" y="177"/>
                  <a:pt x="317" y="185"/>
                  <a:pt x="317" y="201"/>
                </a:cubicBezTo>
                <a:close/>
                <a:moveTo>
                  <a:pt x="306" y="202"/>
                </a:moveTo>
                <a:cubicBezTo>
                  <a:pt x="306" y="191"/>
                  <a:pt x="304" y="185"/>
                  <a:pt x="300" y="185"/>
                </a:cubicBezTo>
                <a:cubicBezTo>
                  <a:pt x="295" y="185"/>
                  <a:pt x="293" y="191"/>
                  <a:pt x="293" y="202"/>
                </a:cubicBezTo>
                <a:cubicBezTo>
                  <a:pt x="293" y="213"/>
                  <a:pt x="295" y="218"/>
                  <a:pt x="300" y="218"/>
                </a:cubicBezTo>
                <a:cubicBezTo>
                  <a:pt x="304" y="218"/>
                  <a:pt x="306" y="213"/>
                  <a:pt x="306" y="202"/>
                </a:cubicBezTo>
                <a:close/>
                <a:moveTo>
                  <a:pt x="360" y="201"/>
                </a:moveTo>
                <a:cubicBezTo>
                  <a:pt x="360" y="209"/>
                  <a:pt x="359" y="216"/>
                  <a:pt x="355" y="220"/>
                </a:cubicBezTo>
                <a:cubicBezTo>
                  <a:pt x="352" y="224"/>
                  <a:pt x="348" y="226"/>
                  <a:pt x="343" y="226"/>
                </a:cubicBezTo>
                <a:cubicBezTo>
                  <a:pt x="331" y="226"/>
                  <a:pt x="325" y="218"/>
                  <a:pt x="325" y="202"/>
                </a:cubicBezTo>
                <a:cubicBezTo>
                  <a:pt x="325" y="194"/>
                  <a:pt x="327" y="188"/>
                  <a:pt x="330" y="183"/>
                </a:cubicBezTo>
                <a:cubicBezTo>
                  <a:pt x="333" y="179"/>
                  <a:pt x="338" y="177"/>
                  <a:pt x="343" y="177"/>
                </a:cubicBezTo>
                <a:cubicBezTo>
                  <a:pt x="355" y="177"/>
                  <a:pt x="360" y="185"/>
                  <a:pt x="360" y="201"/>
                </a:cubicBezTo>
                <a:close/>
                <a:moveTo>
                  <a:pt x="349" y="202"/>
                </a:moveTo>
                <a:cubicBezTo>
                  <a:pt x="349" y="191"/>
                  <a:pt x="347" y="185"/>
                  <a:pt x="343" y="185"/>
                </a:cubicBezTo>
                <a:cubicBezTo>
                  <a:pt x="338" y="185"/>
                  <a:pt x="336" y="191"/>
                  <a:pt x="336" y="202"/>
                </a:cubicBezTo>
                <a:cubicBezTo>
                  <a:pt x="336" y="213"/>
                  <a:pt x="338" y="218"/>
                  <a:pt x="343" y="218"/>
                </a:cubicBezTo>
                <a:cubicBezTo>
                  <a:pt x="347" y="218"/>
                  <a:pt x="349" y="213"/>
                  <a:pt x="349" y="202"/>
                </a:cubicBezTo>
                <a:close/>
                <a:moveTo>
                  <a:pt x="186" y="302"/>
                </a:moveTo>
                <a:cubicBezTo>
                  <a:pt x="156" y="302"/>
                  <a:pt x="156" y="302"/>
                  <a:pt x="156" y="302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66" y="293"/>
                  <a:pt x="166" y="293"/>
                  <a:pt x="166" y="293"/>
                </a:cubicBezTo>
                <a:cubicBezTo>
                  <a:pt x="166" y="264"/>
                  <a:pt x="166" y="264"/>
                  <a:pt x="166" y="264"/>
                </a:cubicBezTo>
                <a:cubicBezTo>
                  <a:pt x="156" y="266"/>
                  <a:pt x="156" y="266"/>
                  <a:pt x="156" y="266"/>
                </a:cubicBezTo>
                <a:cubicBezTo>
                  <a:pt x="156" y="257"/>
                  <a:pt x="156" y="257"/>
                  <a:pt x="156" y="257"/>
                </a:cubicBezTo>
                <a:cubicBezTo>
                  <a:pt x="176" y="253"/>
                  <a:pt x="176" y="253"/>
                  <a:pt x="176" y="253"/>
                </a:cubicBezTo>
                <a:cubicBezTo>
                  <a:pt x="176" y="293"/>
                  <a:pt x="176" y="293"/>
                  <a:pt x="176" y="293"/>
                </a:cubicBezTo>
                <a:cubicBezTo>
                  <a:pt x="186" y="293"/>
                  <a:pt x="186" y="293"/>
                  <a:pt x="186" y="293"/>
                </a:cubicBezTo>
                <a:lnTo>
                  <a:pt x="186" y="302"/>
                </a:lnTo>
                <a:close/>
                <a:moveTo>
                  <a:pt x="231" y="278"/>
                </a:moveTo>
                <a:cubicBezTo>
                  <a:pt x="231" y="286"/>
                  <a:pt x="229" y="292"/>
                  <a:pt x="226" y="296"/>
                </a:cubicBezTo>
                <a:cubicBezTo>
                  <a:pt x="223" y="301"/>
                  <a:pt x="219" y="303"/>
                  <a:pt x="213" y="303"/>
                </a:cubicBezTo>
                <a:cubicBezTo>
                  <a:pt x="202" y="303"/>
                  <a:pt x="196" y="295"/>
                  <a:pt x="196" y="279"/>
                </a:cubicBezTo>
                <a:cubicBezTo>
                  <a:pt x="196" y="270"/>
                  <a:pt x="198" y="264"/>
                  <a:pt x="201" y="260"/>
                </a:cubicBezTo>
                <a:cubicBezTo>
                  <a:pt x="204" y="255"/>
                  <a:pt x="208" y="253"/>
                  <a:pt x="214" y="253"/>
                </a:cubicBezTo>
                <a:cubicBezTo>
                  <a:pt x="225" y="253"/>
                  <a:pt x="231" y="261"/>
                  <a:pt x="231" y="278"/>
                </a:cubicBezTo>
                <a:close/>
                <a:moveTo>
                  <a:pt x="220" y="278"/>
                </a:moveTo>
                <a:cubicBezTo>
                  <a:pt x="220" y="267"/>
                  <a:pt x="218" y="261"/>
                  <a:pt x="213" y="261"/>
                </a:cubicBezTo>
                <a:cubicBezTo>
                  <a:pt x="209" y="261"/>
                  <a:pt x="207" y="267"/>
                  <a:pt x="207" y="278"/>
                </a:cubicBezTo>
                <a:cubicBezTo>
                  <a:pt x="207" y="289"/>
                  <a:pt x="209" y="295"/>
                  <a:pt x="213" y="295"/>
                </a:cubicBezTo>
                <a:cubicBezTo>
                  <a:pt x="218" y="295"/>
                  <a:pt x="220" y="289"/>
                  <a:pt x="220" y="278"/>
                </a:cubicBezTo>
                <a:close/>
                <a:moveTo>
                  <a:pt x="274" y="278"/>
                </a:moveTo>
                <a:cubicBezTo>
                  <a:pt x="274" y="286"/>
                  <a:pt x="272" y="292"/>
                  <a:pt x="269" y="296"/>
                </a:cubicBezTo>
                <a:cubicBezTo>
                  <a:pt x="266" y="301"/>
                  <a:pt x="262" y="303"/>
                  <a:pt x="256" y="303"/>
                </a:cubicBezTo>
                <a:cubicBezTo>
                  <a:pt x="245" y="303"/>
                  <a:pt x="239" y="295"/>
                  <a:pt x="239" y="279"/>
                </a:cubicBezTo>
                <a:cubicBezTo>
                  <a:pt x="239" y="270"/>
                  <a:pt x="241" y="264"/>
                  <a:pt x="244" y="260"/>
                </a:cubicBezTo>
                <a:cubicBezTo>
                  <a:pt x="247" y="255"/>
                  <a:pt x="251" y="253"/>
                  <a:pt x="257" y="253"/>
                </a:cubicBezTo>
                <a:cubicBezTo>
                  <a:pt x="268" y="253"/>
                  <a:pt x="274" y="261"/>
                  <a:pt x="274" y="278"/>
                </a:cubicBezTo>
                <a:close/>
                <a:moveTo>
                  <a:pt x="263" y="278"/>
                </a:moveTo>
                <a:cubicBezTo>
                  <a:pt x="263" y="267"/>
                  <a:pt x="261" y="261"/>
                  <a:pt x="257" y="261"/>
                </a:cubicBezTo>
                <a:cubicBezTo>
                  <a:pt x="252" y="261"/>
                  <a:pt x="250" y="267"/>
                  <a:pt x="250" y="278"/>
                </a:cubicBezTo>
                <a:cubicBezTo>
                  <a:pt x="250" y="289"/>
                  <a:pt x="252" y="295"/>
                  <a:pt x="256" y="295"/>
                </a:cubicBezTo>
                <a:cubicBezTo>
                  <a:pt x="261" y="295"/>
                  <a:pt x="263" y="289"/>
                  <a:pt x="263" y="278"/>
                </a:cubicBezTo>
                <a:close/>
                <a:moveTo>
                  <a:pt x="316" y="302"/>
                </a:moveTo>
                <a:cubicBezTo>
                  <a:pt x="286" y="302"/>
                  <a:pt x="286" y="302"/>
                  <a:pt x="286" y="302"/>
                </a:cubicBezTo>
                <a:cubicBezTo>
                  <a:pt x="286" y="293"/>
                  <a:pt x="286" y="293"/>
                  <a:pt x="286" y="293"/>
                </a:cubicBezTo>
                <a:cubicBezTo>
                  <a:pt x="296" y="293"/>
                  <a:pt x="296" y="293"/>
                  <a:pt x="296" y="293"/>
                </a:cubicBezTo>
                <a:cubicBezTo>
                  <a:pt x="296" y="264"/>
                  <a:pt x="296" y="264"/>
                  <a:pt x="296" y="264"/>
                </a:cubicBezTo>
                <a:cubicBezTo>
                  <a:pt x="285" y="266"/>
                  <a:pt x="285" y="266"/>
                  <a:pt x="285" y="266"/>
                </a:cubicBezTo>
                <a:cubicBezTo>
                  <a:pt x="285" y="257"/>
                  <a:pt x="285" y="257"/>
                  <a:pt x="285" y="257"/>
                </a:cubicBezTo>
                <a:cubicBezTo>
                  <a:pt x="306" y="253"/>
                  <a:pt x="306" y="253"/>
                  <a:pt x="306" y="253"/>
                </a:cubicBezTo>
                <a:cubicBezTo>
                  <a:pt x="306" y="293"/>
                  <a:pt x="306" y="293"/>
                  <a:pt x="306" y="293"/>
                </a:cubicBezTo>
                <a:cubicBezTo>
                  <a:pt x="316" y="293"/>
                  <a:pt x="316" y="293"/>
                  <a:pt x="316" y="293"/>
                </a:cubicBezTo>
                <a:lnTo>
                  <a:pt x="316" y="302"/>
                </a:lnTo>
                <a:close/>
                <a:moveTo>
                  <a:pt x="360" y="278"/>
                </a:moveTo>
                <a:cubicBezTo>
                  <a:pt x="360" y="286"/>
                  <a:pt x="359" y="292"/>
                  <a:pt x="355" y="296"/>
                </a:cubicBezTo>
                <a:cubicBezTo>
                  <a:pt x="352" y="301"/>
                  <a:pt x="348" y="303"/>
                  <a:pt x="343" y="303"/>
                </a:cubicBezTo>
                <a:cubicBezTo>
                  <a:pt x="331" y="303"/>
                  <a:pt x="325" y="295"/>
                  <a:pt x="325" y="279"/>
                </a:cubicBezTo>
                <a:cubicBezTo>
                  <a:pt x="325" y="270"/>
                  <a:pt x="327" y="264"/>
                  <a:pt x="330" y="260"/>
                </a:cubicBezTo>
                <a:cubicBezTo>
                  <a:pt x="333" y="255"/>
                  <a:pt x="338" y="253"/>
                  <a:pt x="343" y="253"/>
                </a:cubicBezTo>
                <a:cubicBezTo>
                  <a:pt x="355" y="253"/>
                  <a:pt x="360" y="261"/>
                  <a:pt x="360" y="278"/>
                </a:cubicBezTo>
                <a:close/>
                <a:moveTo>
                  <a:pt x="349" y="278"/>
                </a:moveTo>
                <a:cubicBezTo>
                  <a:pt x="349" y="267"/>
                  <a:pt x="347" y="261"/>
                  <a:pt x="343" y="261"/>
                </a:cubicBezTo>
                <a:cubicBezTo>
                  <a:pt x="338" y="261"/>
                  <a:pt x="336" y="267"/>
                  <a:pt x="336" y="278"/>
                </a:cubicBezTo>
                <a:cubicBezTo>
                  <a:pt x="336" y="289"/>
                  <a:pt x="338" y="295"/>
                  <a:pt x="343" y="295"/>
                </a:cubicBezTo>
                <a:cubicBezTo>
                  <a:pt x="347" y="295"/>
                  <a:pt x="349" y="289"/>
                  <a:pt x="349" y="278"/>
                </a:cubicBezTo>
                <a:close/>
                <a:moveTo>
                  <a:pt x="187" y="354"/>
                </a:moveTo>
                <a:cubicBezTo>
                  <a:pt x="187" y="362"/>
                  <a:pt x="186" y="368"/>
                  <a:pt x="183" y="373"/>
                </a:cubicBezTo>
                <a:cubicBezTo>
                  <a:pt x="180" y="377"/>
                  <a:pt x="175" y="379"/>
                  <a:pt x="170" y="379"/>
                </a:cubicBezTo>
                <a:cubicBezTo>
                  <a:pt x="158" y="379"/>
                  <a:pt x="153" y="371"/>
                  <a:pt x="153" y="355"/>
                </a:cubicBezTo>
                <a:cubicBezTo>
                  <a:pt x="153" y="347"/>
                  <a:pt x="154" y="340"/>
                  <a:pt x="158" y="336"/>
                </a:cubicBezTo>
                <a:cubicBezTo>
                  <a:pt x="161" y="332"/>
                  <a:pt x="165" y="330"/>
                  <a:pt x="171" y="330"/>
                </a:cubicBezTo>
                <a:cubicBezTo>
                  <a:pt x="182" y="330"/>
                  <a:pt x="187" y="338"/>
                  <a:pt x="187" y="354"/>
                </a:cubicBezTo>
                <a:close/>
                <a:moveTo>
                  <a:pt x="177" y="354"/>
                </a:moveTo>
                <a:cubicBezTo>
                  <a:pt x="177" y="343"/>
                  <a:pt x="174" y="338"/>
                  <a:pt x="170" y="338"/>
                </a:cubicBezTo>
                <a:cubicBezTo>
                  <a:pt x="166" y="338"/>
                  <a:pt x="163" y="343"/>
                  <a:pt x="163" y="355"/>
                </a:cubicBezTo>
                <a:cubicBezTo>
                  <a:pt x="163" y="365"/>
                  <a:pt x="166" y="371"/>
                  <a:pt x="170" y="371"/>
                </a:cubicBezTo>
                <a:cubicBezTo>
                  <a:pt x="174" y="371"/>
                  <a:pt x="177" y="365"/>
                  <a:pt x="177" y="354"/>
                </a:cubicBezTo>
                <a:close/>
                <a:moveTo>
                  <a:pt x="231" y="354"/>
                </a:moveTo>
                <a:cubicBezTo>
                  <a:pt x="231" y="362"/>
                  <a:pt x="229" y="368"/>
                  <a:pt x="226" y="373"/>
                </a:cubicBezTo>
                <a:cubicBezTo>
                  <a:pt x="223" y="377"/>
                  <a:pt x="219" y="379"/>
                  <a:pt x="213" y="379"/>
                </a:cubicBezTo>
                <a:cubicBezTo>
                  <a:pt x="202" y="379"/>
                  <a:pt x="196" y="371"/>
                  <a:pt x="196" y="355"/>
                </a:cubicBezTo>
                <a:cubicBezTo>
                  <a:pt x="196" y="347"/>
                  <a:pt x="198" y="340"/>
                  <a:pt x="201" y="336"/>
                </a:cubicBezTo>
                <a:cubicBezTo>
                  <a:pt x="204" y="332"/>
                  <a:pt x="208" y="330"/>
                  <a:pt x="214" y="330"/>
                </a:cubicBezTo>
                <a:cubicBezTo>
                  <a:pt x="225" y="330"/>
                  <a:pt x="231" y="338"/>
                  <a:pt x="231" y="354"/>
                </a:cubicBezTo>
                <a:close/>
                <a:moveTo>
                  <a:pt x="220" y="354"/>
                </a:moveTo>
                <a:cubicBezTo>
                  <a:pt x="220" y="343"/>
                  <a:pt x="218" y="338"/>
                  <a:pt x="213" y="338"/>
                </a:cubicBezTo>
                <a:cubicBezTo>
                  <a:pt x="209" y="338"/>
                  <a:pt x="207" y="343"/>
                  <a:pt x="207" y="355"/>
                </a:cubicBezTo>
                <a:cubicBezTo>
                  <a:pt x="207" y="365"/>
                  <a:pt x="209" y="371"/>
                  <a:pt x="213" y="371"/>
                </a:cubicBezTo>
                <a:cubicBezTo>
                  <a:pt x="218" y="371"/>
                  <a:pt x="220" y="365"/>
                  <a:pt x="220" y="354"/>
                </a:cubicBezTo>
                <a:close/>
                <a:moveTo>
                  <a:pt x="273" y="378"/>
                </a:moveTo>
                <a:cubicBezTo>
                  <a:pt x="242" y="378"/>
                  <a:pt x="242" y="378"/>
                  <a:pt x="242" y="378"/>
                </a:cubicBezTo>
                <a:cubicBezTo>
                  <a:pt x="242" y="370"/>
                  <a:pt x="242" y="370"/>
                  <a:pt x="242" y="370"/>
                </a:cubicBezTo>
                <a:cubicBezTo>
                  <a:pt x="252" y="370"/>
                  <a:pt x="252" y="370"/>
                  <a:pt x="252" y="370"/>
                </a:cubicBezTo>
                <a:cubicBezTo>
                  <a:pt x="252" y="340"/>
                  <a:pt x="252" y="340"/>
                  <a:pt x="252" y="340"/>
                </a:cubicBezTo>
                <a:cubicBezTo>
                  <a:pt x="242" y="342"/>
                  <a:pt x="242" y="342"/>
                  <a:pt x="242" y="342"/>
                </a:cubicBezTo>
                <a:cubicBezTo>
                  <a:pt x="242" y="334"/>
                  <a:pt x="242" y="334"/>
                  <a:pt x="242" y="334"/>
                </a:cubicBezTo>
                <a:cubicBezTo>
                  <a:pt x="263" y="330"/>
                  <a:pt x="263" y="330"/>
                  <a:pt x="263" y="330"/>
                </a:cubicBezTo>
                <a:cubicBezTo>
                  <a:pt x="263" y="370"/>
                  <a:pt x="263" y="370"/>
                  <a:pt x="263" y="370"/>
                </a:cubicBezTo>
                <a:cubicBezTo>
                  <a:pt x="273" y="370"/>
                  <a:pt x="273" y="370"/>
                  <a:pt x="273" y="370"/>
                </a:cubicBezTo>
                <a:lnTo>
                  <a:pt x="273" y="378"/>
                </a:lnTo>
                <a:close/>
                <a:moveTo>
                  <a:pt x="317" y="354"/>
                </a:moveTo>
                <a:cubicBezTo>
                  <a:pt x="317" y="362"/>
                  <a:pt x="315" y="368"/>
                  <a:pt x="312" y="373"/>
                </a:cubicBezTo>
                <a:cubicBezTo>
                  <a:pt x="309" y="377"/>
                  <a:pt x="305" y="379"/>
                  <a:pt x="299" y="379"/>
                </a:cubicBezTo>
                <a:cubicBezTo>
                  <a:pt x="288" y="379"/>
                  <a:pt x="282" y="371"/>
                  <a:pt x="282" y="355"/>
                </a:cubicBezTo>
                <a:cubicBezTo>
                  <a:pt x="282" y="347"/>
                  <a:pt x="284" y="340"/>
                  <a:pt x="287" y="336"/>
                </a:cubicBezTo>
                <a:cubicBezTo>
                  <a:pt x="290" y="332"/>
                  <a:pt x="295" y="330"/>
                  <a:pt x="300" y="330"/>
                </a:cubicBezTo>
                <a:cubicBezTo>
                  <a:pt x="311" y="330"/>
                  <a:pt x="317" y="338"/>
                  <a:pt x="317" y="354"/>
                </a:cubicBezTo>
                <a:close/>
                <a:moveTo>
                  <a:pt x="306" y="354"/>
                </a:moveTo>
                <a:cubicBezTo>
                  <a:pt x="306" y="343"/>
                  <a:pt x="304" y="338"/>
                  <a:pt x="300" y="338"/>
                </a:cubicBezTo>
                <a:cubicBezTo>
                  <a:pt x="295" y="338"/>
                  <a:pt x="293" y="343"/>
                  <a:pt x="293" y="355"/>
                </a:cubicBezTo>
                <a:cubicBezTo>
                  <a:pt x="293" y="365"/>
                  <a:pt x="295" y="371"/>
                  <a:pt x="300" y="371"/>
                </a:cubicBezTo>
                <a:cubicBezTo>
                  <a:pt x="304" y="371"/>
                  <a:pt x="306" y="365"/>
                  <a:pt x="306" y="354"/>
                </a:cubicBezTo>
                <a:close/>
                <a:moveTo>
                  <a:pt x="359" y="378"/>
                </a:moveTo>
                <a:cubicBezTo>
                  <a:pt x="329" y="378"/>
                  <a:pt x="329" y="378"/>
                  <a:pt x="329" y="378"/>
                </a:cubicBezTo>
                <a:cubicBezTo>
                  <a:pt x="329" y="370"/>
                  <a:pt x="329" y="370"/>
                  <a:pt x="329" y="370"/>
                </a:cubicBezTo>
                <a:cubicBezTo>
                  <a:pt x="339" y="370"/>
                  <a:pt x="339" y="370"/>
                  <a:pt x="339" y="370"/>
                </a:cubicBezTo>
                <a:cubicBezTo>
                  <a:pt x="339" y="340"/>
                  <a:pt x="339" y="340"/>
                  <a:pt x="339" y="340"/>
                </a:cubicBezTo>
                <a:cubicBezTo>
                  <a:pt x="329" y="342"/>
                  <a:pt x="329" y="342"/>
                  <a:pt x="329" y="342"/>
                </a:cubicBezTo>
                <a:cubicBezTo>
                  <a:pt x="329" y="334"/>
                  <a:pt x="329" y="334"/>
                  <a:pt x="329" y="334"/>
                </a:cubicBezTo>
                <a:cubicBezTo>
                  <a:pt x="349" y="330"/>
                  <a:pt x="349" y="330"/>
                  <a:pt x="349" y="330"/>
                </a:cubicBezTo>
                <a:cubicBezTo>
                  <a:pt x="349" y="370"/>
                  <a:pt x="349" y="370"/>
                  <a:pt x="349" y="370"/>
                </a:cubicBezTo>
                <a:cubicBezTo>
                  <a:pt x="359" y="370"/>
                  <a:pt x="359" y="370"/>
                  <a:pt x="359" y="370"/>
                </a:cubicBezTo>
                <a:lnTo>
                  <a:pt x="359" y="3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169862" y="3514576"/>
            <a:ext cx="1749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重构后台数据库结构，重新开发一键注册功能，提升一键注册的效率和可扩展性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8753097" y="2103660"/>
            <a:ext cx="1080000" cy="1080000"/>
            <a:chOff x="6687403" y="2019253"/>
            <a:chExt cx="1080000" cy="1080000"/>
          </a:xfrm>
        </p:grpSpPr>
        <p:sp>
          <p:nvSpPr>
            <p:cNvPr id="21" name="Rectangle 51"/>
            <p:cNvSpPr/>
            <p:nvPr/>
          </p:nvSpPr>
          <p:spPr>
            <a:xfrm rot="2777540">
              <a:off x="6687403" y="2019253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" name="Rounded Rectangle 100"/>
            <p:cNvSpPr/>
            <p:nvPr>
              <p:custDataLst>
                <p:tags r:id="rId1"/>
              </p:custDataLst>
            </p:nvPr>
          </p:nvSpPr>
          <p:spPr bwMode="auto">
            <a:xfrm>
              <a:off x="6892964" y="2308125"/>
              <a:ext cx="720080" cy="502257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12" tIns="46607" rIns="46607" bIns="93212" numCol="1" spcCol="0" rtlCol="0" fromWordArt="0" anchor="b" anchorCtr="0" forceAA="0" compatLnSpc="1">
              <a:noAutofit/>
            </a:bodyPr>
            <a:lstStyle/>
            <a:p>
              <a:pPr marL="0" marR="0" lvl="0" indent="0" algn="ctr" defTabSz="931545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-51" normalizeH="0" baseline="0" noProof="0" dirty="0" err="1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5" name="直接连接符 24"/>
          <p:cNvCxnSpPr/>
          <p:nvPr/>
        </p:nvCxnSpPr>
        <p:spPr bwMode="auto">
          <a:xfrm flipV="1">
            <a:off x="6738222" y="2613810"/>
            <a:ext cx="1791393" cy="842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6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文本框 25"/>
          <p:cNvSpPr txBox="1"/>
          <p:nvPr/>
        </p:nvSpPr>
        <p:spPr>
          <a:xfrm>
            <a:off x="8529615" y="3561372"/>
            <a:ext cx="1749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开发一键注册同步功能，将一键注册信息同步到需要一键注册数据的应用服务中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4" y="395785"/>
            <a:ext cx="67289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一期功能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应用数据采集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976517" y="2044006"/>
            <a:ext cx="1080000" cy="1080000"/>
            <a:chOff x="1262422" y="2480105"/>
            <a:chExt cx="1080000" cy="1080000"/>
          </a:xfrm>
        </p:grpSpPr>
        <p:sp>
          <p:nvSpPr>
            <p:cNvPr id="5" name="Rectangle 51"/>
            <p:cNvSpPr/>
            <p:nvPr/>
          </p:nvSpPr>
          <p:spPr>
            <a:xfrm rot="2868705">
              <a:off x="1262422" y="2480105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6" name="Freeform 5"/>
            <p:cNvSpPr>
              <a:spLocks noChangeAspect="1" noEditPoints="1"/>
            </p:cNvSpPr>
            <p:nvPr/>
          </p:nvSpPr>
          <p:spPr bwMode="auto">
            <a:xfrm>
              <a:off x="1495115" y="2688262"/>
              <a:ext cx="603921" cy="723294"/>
            </a:xfrm>
            <a:custGeom>
              <a:avLst/>
              <a:gdLst>
                <a:gd name="T0" fmla="*/ 32 w 432"/>
                <a:gd name="T1" fmla="*/ 420 h 508"/>
                <a:gd name="T2" fmla="*/ 258 w 432"/>
                <a:gd name="T3" fmla="*/ 420 h 508"/>
                <a:gd name="T4" fmla="*/ 258 w 432"/>
                <a:gd name="T5" fmla="*/ 452 h 508"/>
                <a:gd name="T6" fmla="*/ 0 w 432"/>
                <a:gd name="T7" fmla="*/ 452 h 508"/>
                <a:gd name="T8" fmla="*/ 0 w 432"/>
                <a:gd name="T9" fmla="*/ 120 h 508"/>
                <a:gd name="T10" fmla="*/ 120 w 432"/>
                <a:gd name="T11" fmla="*/ 0 h 508"/>
                <a:gd name="T12" fmla="*/ 352 w 432"/>
                <a:gd name="T13" fmla="*/ 0 h 508"/>
                <a:gd name="T14" fmla="*/ 352 w 432"/>
                <a:gd name="T15" fmla="*/ 150 h 508"/>
                <a:gd name="T16" fmla="*/ 320 w 432"/>
                <a:gd name="T17" fmla="*/ 150 h 508"/>
                <a:gd name="T18" fmla="*/ 320 w 432"/>
                <a:gd name="T19" fmla="*/ 32 h 508"/>
                <a:gd name="T20" fmla="*/ 136 w 432"/>
                <a:gd name="T21" fmla="*/ 32 h 508"/>
                <a:gd name="T22" fmla="*/ 136 w 432"/>
                <a:gd name="T23" fmla="*/ 136 h 508"/>
                <a:gd name="T24" fmla="*/ 32 w 432"/>
                <a:gd name="T25" fmla="*/ 136 h 508"/>
                <a:gd name="T26" fmla="*/ 32 w 432"/>
                <a:gd name="T27" fmla="*/ 420 h 508"/>
                <a:gd name="T28" fmla="*/ 303 w 432"/>
                <a:gd name="T29" fmla="*/ 236 h 508"/>
                <a:gd name="T30" fmla="*/ 303 w 432"/>
                <a:gd name="T31" fmla="*/ 236 h 508"/>
                <a:gd name="T32" fmla="*/ 284 w 432"/>
                <a:gd name="T33" fmla="*/ 265 h 508"/>
                <a:gd name="T34" fmla="*/ 284 w 432"/>
                <a:gd name="T35" fmla="*/ 265 h 508"/>
                <a:gd name="T36" fmla="*/ 272 w 432"/>
                <a:gd name="T37" fmla="*/ 277 h 508"/>
                <a:gd name="T38" fmla="*/ 259 w 432"/>
                <a:gd name="T39" fmla="*/ 265 h 508"/>
                <a:gd name="T40" fmla="*/ 259 w 432"/>
                <a:gd name="T41" fmla="*/ 263 h 508"/>
                <a:gd name="T42" fmla="*/ 296 w 432"/>
                <a:gd name="T43" fmla="*/ 213 h 508"/>
                <a:gd name="T44" fmla="*/ 298 w 432"/>
                <a:gd name="T45" fmla="*/ 212 h 508"/>
                <a:gd name="T46" fmla="*/ 311 w 432"/>
                <a:gd name="T47" fmla="*/ 225 h 508"/>
                <a:gd name="T48" fmla="*/ 303 w 432"/>
                <a:gd name="T49" fmla="*/ 236 h 508"/>
                <a:gd name="T50" fmla="*/ 330 w 432"/>
                <a:gd name="T51" fmla="*/ 180 h 508"/>
                <a:gd name="T52" fmla="*/ 329 w 432"/>
                <a:gd name="T53" fmla="*/ 180 h 508"/>
                <a:gd name="T54" fmla="*/ 229 w 432"/>
                <a:gd name="T55" fmla="*/ 275 h 508"/>
                <a:gd name="T56" fmla="*/ 265 w 432"/>
                <a:gd name="T57" fmla="*/ 353 h 508"/>
                <a:gd name="T58" fmla="*/ 273 w 432"/>
                <a:gd name="T59" fmla="*/ 371 h 508"/>
                <a:gd name="T60" fmla="*/ 276 w 432"/>
                <a:gd name="T61" fmla="*/ 390 h 508"/>
                <a:gd name="T62" fmla="*/ 289 w 432"/>
                <a:gd name="T63" fmla="*/ 419 h 508"/>
                <a:gd name="T64" fmla="*/ 374 w 432"/>
                <a:gd name="T65" fmla="*/ 419 h 508"/>
                <a:gd name="T66" fmla="*/ 386 w 432"/>
                <a:gd name="T67" fmla="*/ 390 h 508"/>
                <a:gd name="T68" fmla="*/ 397 w 432"/>
                <a:gd name="T69" fmla="*/ 353 h 508"/>
                <a:gd name="T70" fmla="*/ 415 w 432"/>
                <a:gd name="T71" fmla="*/ 322 h 508"/>
                <a:gd name="T72" fmla="*/ 432 w 432"/>
                <a:gd name="T73" fmla="*/ 275 h 508"/>
                <a:gd name="T74" fmla="*/ 330 w 432"/>
                <a:gd name="T75" fmla="*/ 180 h 508"/>
                <a:gd name="T76" fmla="*/ 311 w 432"/>
                <a:gd name="T77" fmla="*/ 499 h 508"/>
                <a:gd name="T78" fmla="*/ 324 w 432"/>
                <a:gd name="T79" fmla="*/ 508 h 508"/>
                <a:gd name="T80" fmla="*/ 342 w 432"/>
                <a:gd name="T81" fmla="*/ 508 h 508"/>
                <a:gd name="T82" fmla="*/ 354 w 432"/>
                <a:gd name="T83" fmla="*/ 499 h 508"/>
                <a:gd name="T84" fmla="*/ 311 w 432"/>
                <a:gd name="T85" fmla="*/ 499 h 508"/>
                <a:gd name="T86" fmla="*/ 364 w 432"/>
                <a:gd name="T87" fmla="*/ 465 h 508"/>
                <a:gd name="T88" fmla="*/ 300 w 432"/>
                <a:gd name="T89" fmla="*/ 465 h 508"/>
                <a:gd name="T90" fmla="*/ 287 w 432"/>
                <a:gd name="T91" fmla="*/ 476 h 508"/>
                <a:gd name="T92" fmla="*/ 301 w 432"/>
                <a:gd name="T93" fmla="*/ 488 h 508"/>
                <a:gd name="T94" fmla="*/ 364 w 432"/>
                <a:gd name="T95" fmla="*/ 488 h 508"/>
                <a:gd name="T96" fmla="*/ 378 w 432"/>
                <a:gd name="T97" fmla="*/ 476 h 508"/>
                <a:gd name="T98" fmla="*/ 364 w 432"/>
                <a:gd name="T99" fmla="*/ 465 h 508"/>
                <a:gd name="T100" fmla="*/ 364 w 432"/>
                <a:gd name="T101" fmla="*/ 430 h 508"/>
                <a:gd name="T102" fmla="*/ 300 w 432"/>
                <a:gd name="T103" fmla="*/ 430 h 508"/>
                <a:gd name="T104" fmla="*/ 287 w 432"/>
                <a:gd name="T105" fmla="*/ 442 h 508"/>
                <a:gd name="T106" fmla="*/ 301 w 432"/>
                <a:gd name="T107" fmla="*/ 453 h 508"/>
                <a:gd name="T108" fmla="*/ 364 w 432"/>
                <a:gd name="T109" fmla="*/ 453 h 508"/>
                <a:gd name="T110" fmla="*/ 378 w 432"/>
                <a:gd name="T111" fmla="*/ 442 h 508"/>
                <a:gd name="T112" fmla="*/ 364 w 432"/>
                <a:gd name="T113" fmla="*/ 43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508">
                  <a:moveTo>
                    <a:pt x="32" y="420"/>
                  </a:moveTo>
                  <a:cubicBezTo>
                    <a:pt x="258" y="420"/>
                    <a:pt x="258" y="420"/>
                    <a:pt x="258" y="420"/>
                  </a:cubicBezTo>
                  <a:cubicBezTo>
                    <a:pt x="258" y="452"/>
                    <a:pt x="258" y="452"/>
                    <a:pt x="258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352" y="0"/>
                    <a:pt x="352" y="0"/>
                    <a:pt x="352" y="0"/>
                  </a:cubicBezTo>
                  <a:cubicBezTo>
                    <a:pt x="352" y="150"/>
                    <a:pt x="352" y="150"/>
                    <a:pt x="352" y="150"/>
                  </a:cubicBezTo>
                  <a:cubicBezTo>
                    <a:pt x="320" y="150"/>
                    <a:pt x="320" y="150"/>
                    <a:pt x="320" y="150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32" y="136"/>
                    <a:pt x="32" y="136"/>
                    <a:pt x="32" y="136"/>
                  </a:cubicBezTo>
                  <a:lnTo>
                    <a:pt x="32" y="420"/>
                  </a:lnTo>
                  <a:close/>
                  <a:moveTo>
                    <a:pt x="303" y="236"/>
                  </a:moveTo>
                  <a:cubicBezTo>
                    <a:pt x="303" y="236"/>
                    <a:pt x="303" y="236"/>
                    <a:pt x="303" y="236"/>
                  </a:cubicBezTo>
                  <a:cubicBezTo>
                    <a:pt x="290" y="240"/>
                    <a:pt x="285" y="254"/>
                    <a:pt x="284" y="265"/>
                  </a:cubicBezTo>
                  <a:cubicBezTo>
                    <a:pt x="284" y="265"/>
                    <a:pt x="284" y="265"/>
                    <a:pt x="284" y="265"/>
                  </a:cubicBezTo>
                  <a:cubicBezTo>
                    <a:pt x="284" y="272"/>
                    <a:pt x="278" y="277"/>
                    <a:pt x="272" y="277"/>
                  </a:cubicBezTo>
                  <a:cubicBezTo>
                    <a:pt x="265" y="277"/>
                    <a:pt x="259" y="272"/>
                    <a:pt x="259" y="265"/>
                  </a:cubicBezTo>
                  <a:cubicBezTo>
                    <a:pt x="259" y="264"/>
                    <a:pt x="259" y="263"/>
                    <a:pt x="259" y="263"/>
                  </a:cubicBezTo>
                  <a:cubicBezTo>
                    <a:pt x="261" y="238"/>
                    <a:pt x="275" y="218"/>
                    <a:pt x="296" y="213"/>
                  </a:cubicBezTo>
                  <a:cubicBezTo>
                    <a:pt x="296" y="213"/>
                    <a:pt x="297" y="212"/>
                    <a:pt x="298" y="212"/>
                  </a:cubicBezTo>
                  <a:cubicBezTo>
                    <a:pt x="305" y="212"/>
                    <a:pt x="311" y="218"/>
                    <a:pt x="311" y="225"/>
                  </a:cubicBezTo>
                  <a:cubicBezTo>
                    <a:pt x="311" y="230"/>
                    <a:pt x="307" y="235"/>
                    <a:pt x="303" y="236"/>
                  </a:cubicBezTo>
                  <a:close/>
                  <a:moveTo>
                    <a:pt x="330" y="180"/>
                  </a:moveTo>
                  <a:cubicBezTo>
                    <a:pt x="330" y="180"/>
                    <a:pt x="330" y="180"/>
                    <a:pt x="329" y="180"/>
                  </a:cubicBezTo>
                  <a:cubicBezTo>
                    <a:pt x="274" y="180"/>
                    <a:pt x="229" y="222"/>
                    <a:pt x="229" y="275"/>
                  </a:cubicBezTo>
                  <a:cubicBezTo>
                    <a:pt x="229" y="305"/>
                    <a:pt x="253" y="326"/>
                    <a:pt x="265" y="353"/>
                  </a:cubicBezTo>
                  <a:cubicBezTo>
                    <a:pt x="269" y="360"/>
                    <a:pt x="271" y="365"/>
                    <a:pt x="273" y="371"/>
                  </a:cubicBezTo>
                  <a:cubicBezTo>
                    <a:pt x="275" y="378"/>
                    <a:pt x="275" y="384"/>
                    <a:pt x="276" y="390"/>
                  </a:cubicBezTo>
                  <a:cubicBezTo>
                    <a:pt x="278" y="401"/>
                    <a:pt x="280" y="411"/>
                    <a:pt x="289" y="419"/>
                  </a:cubicBezTo>
                  <a:cubicBezTo>
                    <a:pt x="289" y="419"/>
                    <a:pt x="374" y="419"/>
                    <a:pt x="374" y="419"/>
                  </a:cubicBezTo>
                  <a:cubicBezTo>
                    <a:pt x="384" y="412"/>
                    <a:pt x="385" y="401"/>
                    <a:pt x="386" y="390"/>
                  </a:cubicBezTo>
                  <a:cubicBezTo>
                    <a:pt x="388" y="379"/>
                    <a:pt x="389" y="368"/>
                    <a:pt x="397" y="353"/>
                  </a:cubicBezTo>
                  <a:cubicBezTo>
                    <a:pt x="402" y="342"/>
                    <a:pt x="409" y="332"/>
                    <a:pt x="415" y="322"/>
                  </a:cubicBezTo>
                  <a:cubicBezTo>
                    <a:pt x="424" y="308"/>
                    <a:pt x="432" y="293"/>
                    <a:pt x="432" y="275"/>
                  </a:cubicBezTo>
                  <a:cubicBezTo>
                    <a:pt x="432" y="222"/>
                    <a:pt x="386" y="180"/>
                    <a:pt x="330" y="180"/>
                  </a:cubicBezTo>
                  <a:close/>
                  <a:moveTo>
                    <a:pt x="311" y="499"/>
                  </a:moveTo>
                  <a:cubicBezTo>
                    <a:pt x="311" y="499"/>
                    <a:pt x="313" y="508"/>
                    <a:pt x="324" y="508"/>
                  </a:cubicBezTo>
                  <a:cubicBezTo>
                    <a:pt x="342" y="508"/>
                    <a:pt x="342" y="508"/>
                    <a:pt x="342" y="508"/>
                  </a:cubicBezTo>
                  <a:cubicBezTo>
                    <a:pt x="352" y="508"/>
                    <a:pt x="354" y="499"/>
                    <a:pt x="354" y="499"/>
                  </a:cubicBezTo>
                  <a:lnTo>
                    <a:pt x="311" y="499"/>
                  </a:lnTo>
                  <a:close/>
                  <a:moveTo>
                    <a:pt x="364" y="465"/>
                  </a:moveTo>
                  <a:cubicBezTo>
                    <a:pt x="300" y="465"/>
                    <a:pt x="300" y="465"/>
                    <a:pt x="300" y="465"/>
                  </a:cubicBezTo>
                  <a:cubicBezTo>
                    <a:pt x="293" y="465"/>
                    <a:pt x="287" y="470"/>
                    <a:pt x="287" y="476"/>
                  </a:cubicBezTo>
                  <a:cubicBezTo>
                    <a:pt x="287" y="483"/>
                    <a:pt x="293" y="488"/>
                    <a:pt x="301" y="488"/>
                  </a:cubicBezTo>
                  <a:cubicBezTo>
                    <a:pt x="301" y="488"/>
                    <a:pt x="364" y="488"/>
                    <a:pt x="364" y="488"/>
                  </a:cubicBezTo>
                  <a:cubicBezTo>
                    <a:pt x="372" y="488"/>
                    <a:pt x="378" y="483"/>
                    <a:pt x="378" y="476"/>
                  </a:cubicBezTo>
                  <a:cubicBezTo>
                    <a:pt x="378" y="470"/>
                    <a:pt x="372" y="465"/>
                    <a:pt x="364" y="465"/>
                  </a:cubicBezTo>
                  <a:close/>
                  <a:moveTo>
                    <a:pt x="364" y="430"/>
                  </a:moveTo>
                  <a:cubicBezTo>
                    <a:pt x="300" y="430"/>
                    <a:pt x="300" y="430"/>
                    <a:pt x="300" y="430"/>
                  </a:cubicBezTo>
                  <a:cubicBezTo>
                    <a:pt x="293" y="430"/>
                    <a:pt x="287" y="435"/>
                    <a:pt x="287" y="442"/>
                  </a:cubicBezTo>
                  <a:cubicBezTo>
                    <a:pt x="287" y="448"/>
                    <a:pt x="293" y="453"/>
                    <a:pt x="301" y="453"/>
                  </a:cubicBezTo>
                  <a:cubicBezTo>
                    <a:pt x="302" y="453"/>
                    <a:pt x="364" y="453"/>
                    <a:pt x="364" y="453"/>
                  </a:cubicBezTo>
                  <a:cubicBezTo>
                    <a:pt x="372" y="453"/>
                    <a:pt x="378" y="448"/>
                    <a:pt x="378" y="442"/>
                  </a:cubicBezTo>
                  <a:cubicBezTo>
                    <a:pt x="378" y="435"/>
                    <a:pt x="372" y="430"/>
                    <a:pt x="364" y="4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cxnSp>
        <p:nvCxnSpPr>
          <p:cNvPr id="4" name="直接连接符 3"/>
          <p:cNvCxnSpPr/>
          <p:nvPr/>
        </p:nvCxnSpPr>
        <p:spPr bwMode="auto">
          <a:xfrm flipV="1">
            <a:off x="3242174" y="2630658"/>
            <a:ext cx="1989151" cy="842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6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文本框 6"/>
          <p:cNvSpPr txBox="1"/>
          <p:nvPr/>
        </p:nvSpPr>
        <p:spPr>
          <a:xfrm>
            <a:off x="1753761" y="3516924"/>
            <a:ext cx="17490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改变以往的只收集活跃数的方式，转变为采集用户所有操作信息并进行记录，待有网络的时候进行上传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51"/>
          <p:cNvSpPr/>
          <p:nvPr/>
        </p:nvSpPr>
        <p:spPr>
          <a:xfrm rot="2817829">
            <a:off x="5475187" y="2069269"/>
            <a:ext cx="1048497" cy="1122778"/>
          </a:xfrm>
          <a:prstGeom prst="rect">
            <a:avLst/>
          </a:prstGeom>
          <a:solidFill>
            <a:srgbClr val="FF6064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9" name="Freeform 11"/>
          <p:cNvSpPr>
            <a:spLocks noChangeAspect="1" noEditPoints="1"/>
          </p:cNvSpPr>
          <p:nvPr/>
        </p:nvSpPr>
        <p:spPr bwMode="auto">
          <a:xfrm>
            <a:off x="5731879" y="2310989"/>
            <a:ext cx="577300" cy="684934"/>
          </a:xfrm>
          <a:custGeom>
            <a:avLst/>
            <a:gdLst>
              <a:gd name="T0" fmla="*/ 120 w 432"/>
              <a:gd name="T1" fmla="*/ 56 h 508"/>
              <a:gd name="T2" fmla="*/ 352 w 432"/>
              <a:gd name="T3" fmla="*/ 452 h 508"/>
              <a:gd name="T4" fmla="*/ 32 w 432"/>
              <a:gd name="T5" fmla="*/ 476 h 508"/>
              <a:gd name="T6" fmla="*/ 320 w 432"/>
              <a:gd name="T7" fmla="*/ 452 h 508"/>
              <a:gd name="T8" fmla="*/ 112 w 432"/>
              <a:gd name="T9" fmla="*/ 136 h 508"/>
              <a:gd name="T10" fmla="*/ 400 w 432"/>
              <a:gd name="T11" fmla="*/ 420 h 508"/>
              <a:gd name="T12" fmla="*/ 153 w 432"/>
              <a:gd name="T13" fmla="*/ 202 h 508"/>
              <a:gd name="T14" fmla="*/ 177 w 432"/>
              <a:gd name="T15" fmla="*/ 202 h 508"/>
              <a:gd name="T16" fmla="*/ 177 w 432"/>
              <a:gd name="T17" fmla="*/ 202 h 508"/>
              <a:gd name="T18" fmla="*/ 209 w 432"/>
              <a:gd name="T19" fmla="*/ 217 h 508"/>
              <a:gd name="T20" fmla="*/ 220 w 432"/>
              <a:gd name="T21" fmla="*/ 177 h 508"/>
              <a:gd name="T22" fmla="*/ 273 w 432"/>
              <a:gd name="T23" fmla="*/ 225 h 508"/>
              <a:gd name="T24" fmla="*/ 252 w 432"/>
              <a:gd name="T25" fmla="*/ 187 h 508"/>
              <a:gd name="T26" fmla="*/ 263 w 432"/>
              <a:gd name="T27" fmla="*/ 217 h 508"/>
              <a:gd name="T28" fmla="*/ 312 w 432"/>
              <a:gd name="T29" fmla="*/ 220 h 508"/>
              <a:gd name="T30" fmla="*/ 300 w 432"/>
              <a:gd name="T31" fmla="*/ 177 h 508"/>
              <a:gd name="T32" fmla="*/ 293 w 432"/>
              <a:gd name="T33" fmla="*/ 202 h 508"/>
              <a:gd name="T34" fmla="*/ 355 w 432"/>
              <a:gd name="T35" fmla="*/ 220 h 508"/>
              <a:gd name="T36" fmla="*/ 343 w 432"/>
              <a:gd name="T37" fmla="*/ 177 h 508"/>
              <a:gd name="T38" fmla="*/ 336 w 432"/>
              <a:gd name="T39" fmla="*/ 202 h 508"/>
              <a:gd name="T40" fmla="*/ 156 w 432"/>
              <a:gd name="T41" fmla="*/ 302 h 508"/>
              <a:gd name="T42" fmla="*/ 156 w 432"/>
              <a:gd name="T43" fmla="*/ 266 h 508"/>
              <a:gd name="T44" fmla="*/ 186 w 432"/>
              <a:gd name="T45" fmla="*/ 293 h 508"/>
              <a:gd name="T46" fmla="*/ 213 w 432"/>
              <a:gd name="T47" fmla="*/ 303 h 508"/>
              <a:gd name="T48" fmla="*/ 231 w 432"/>
              <a:gd name="T49" fmla="*/ 278 h 508"/>
              <a:gd name="T50" fmla="*/ 213 w 432"/>
              <a:gd name="T51" fmla="*/ 295 h 508"/>
              <a:gd name="T52" fmla="*/ 256 w 432"/>
              <a:gd name="T53" fmla="*/ 303 h 508"/>
              <a:gd name="T54" fmla="*/ 274 w 432"/>
              <a:gd name="T55" fmla="*/ 278 h 508"/>
              <a:gd name="T56" fmla="*/ 256 w 432"/>
              <a:gd name="T57" fmla="*/ 295 h 508"/>
              <a:gd name="T58" fmla="*/ 286 w 432"/>
              <a:gd name="T59" fmla="*/ 293 h 508"/>
              <a:gd name="T60" fmla="*/ 285 w 432"/>
              <a:gd name="T61" fmla="*/ 257 h 508"/>
              <a:gd name="T62" fmla="*/ 316 w 432"/>
              <a:gd name="T63" fmla="*/ 302 h 508"/>
              <a:gd name="T64" fmla="*/ 325 w 432"/>
              <a:gd name="T65" fmla="*/ 279 h 508"/>
              <a:gd name="T66" fmla="*/ 349 w 432"/>
              <a:gd name="T67" fmla="*/ 278 h 508"/>
              <a:gd name="T68" fmla="*/ 349 w 432"/>
              <a:gd name="T69" fmla="*/ 278 h 508"/>
              <a:gd name="T70" fmla="*/ 153 w 432"/>
              <a:gd name="T71" fmla="*/ 355 h 508"/>
              <a:gd name="T72" fmla="*/ 177 w 432"/>
              <a:gd name="T73" fmla="*/ 354 h 508"/>
              <a:gd name="T74" fmla="*/ 177 w 432"/>
              <a:gd name="T75" fmla="*/ 354 h 508"/>
              <a:gd name="T76" fmla="*/ 196 w 432"/>
              <a:gd name="T77" fmla="*/ 355 h 508"/>
              <a:gd name="T78" fmla="*/ 220 w 432"/>
              <a:gd name="T79" fmla="*/ 354 h 508"/>
              <a:gd name="T80" fmla="*/ 220 w 432"/>
              <a:gd name="T81" fmla="*/ 354 h 508"/>
              <a:gd name="T82" fmla="*/ 252 w 432"/>
              <a:gd name="T83" fmla="*/ 370 h 508"/>
              <a:gd name="T84" fmla="*/ 263 w 432"/>
              <a:gd name="T85" fmla="*/ 330 h 508"/>
              <a:gd name="T86" fmla="*/ 317 w 432"/>
              <a:gd name="T87" fmla="*/ 354 h 508"/>
              <a:gd name="T88" fmla="*/ 287 w 432"/>
              <a:gd name="T89" fmla="*/ 336 h 508"/>
              <a:gd name="T90" fmla="*/ 300 w 432"/>
              <a:gd name="T91" fmla="*/ 338 h 508"/>
              <a:gd name="T92" fmla="*/ 359 w 432"/>
              <a:gd name="T93" fmla="*/ 378 h 508"/>
              <a:gd name="T94" fmla="*/ 339 w 432"/>
              <a:gd name="T95" fmla="*/ 340 h 508"/>
              <a:gd name="T96" fmla="*/ 349 w 432"/>
              <a:gd name="T97" fmla="*/ 37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2" h="508">
                <a:moveTo>
                  <a:pt x="432" y="0"/>
                </a:moveTo>
                <a:cubicBezTo>
                  <a:pt x="200" y="0"/>
                  <a:pt x="200" y="0"/>
                  <a:pt x="200" y="0"/>
                </a:cubicBezTo>
                <a:cubicBezTo>
                  <a:pt x="144" y="56"/>
                  <a:pt x="144" y="56"/>
                  <a:pt x="144" y="56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508"/>
                  <a:pt x="0" y="508"/>
                  <a:pt x="0" y="508"/>
                </a:cubicBezTo>
                <a:cubicBezTo>
                  <a:pt x="352" y="508"/>
                  <a:pt x="352" y="508"/>
                  <a:pt x="352" y="508"/>
                </a:cubicBezTo>
                <a:cubicBezTo>
                  <a:pt x="352" y="452"/>
                  <a:pt x="352" y="452"/>
                  <a:pt x="352" y="452"/>
                </a:cubicBezTo>
                <a:cubicBezTo>
                  <a:pt x="432" y="452"/>
                  <a:pt x="432" y="452"/>
                  <a:pt x="432" y="452"/>
                </a:cubicBezTo>
                <a:lnTo>
                  <a:pt x="432" y="0"/>
                </a:lnTo>
                <a:close/>
                <a:moveTo>
                  <a:pt x="320" y="476"/>
                </a:moveTo>
                <a:cubicBezTo>
                  <a:pt x="32" y="476"/>
                  <a:pt x="32" y="476"/>
                  <a:pt x="32" y="476"/>
                </a:cubicBezTo>
                <a:cubicBezTo>
                  <a:pt x="32" y="192"/>
                  <a:pt x="32" y="192"/>
                  <a:pt x="32" y="192"/>
                </a:cubicBezTo>
                <a:cubicBezTo>
                  <a:pt x="80" y="192"/>
                  <a:pt x="80" y="192"/>
                  <a:pt x="80" y="192"/>
                </a:cubicBezTo>
                <a:cubicBezTo>
                  <a:pt x="80" y="452"/>
                  <a:pt x="80" y="452"/>
                  <a:pt x="80" y="452"/>
                </a:cubicBezTo>
                <a:cubicBezTo>
                  <a:pt x="320" y="452"/>
                  <a:pt x="320" y="452"/>
                  <a:pt x="320" y="452"/>
                </a:cubicBezTo>
                <a:lnTo>
                  <a:pt x="320" y="476"/>
                </a:lnTo>
                <a:close/>
                <a:moveTo>
                  <a:pt x="400" y="420"/>
                </a:moveTo>
                <a:cubicBezTo>
                  <a:pt x="112" y="420"/>
                  <a:pt x="112" y="420"/>
                  <a:pt x="112" y="420"/>
                </a:cubicBezTo>
                <a:cubicBezTo>
                  <a:pt x="112" y="136"/>
                  <a:pt x="112" y="136"/>
                  <a:pt x="112" y="136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400" y="32"/>
                  <a:pt x="400" y="32"/>
                  <a:pt x="400" y="32"/>
                </a:cubicBezTo>
                <a:lnTo>
                  <a:pt x="400" y="420"/>
                </a:lnTo>
                <a:close/>
                <a:moveTo>
                  <a:pt x="187" y="201"/>
                </a:moveTo>
                <a:cubicBezTo>
                  <a:pt x="187" y="209"/>
                  <a:pt x="186" y="216"/>
                  <a:pt x="183" y="220"/>
                </a:cubicBezTo>
                <a:cubicBezTo>
                  <a:pt x="180" y="224"/>
                  <a:pt x="175" y="226"/>
                  <a:pt x="170" y="226"/>
                </a:cubicBezTo>
                <a:cubicBezTo>
                  <a:pt x="158" y="226"/>
                  <a:pt x="153" y="218"/>
                  <a:pt x="153" y="202"/>
                </a:cubicBezTo>
                <a:cubicBezTo>
                  <a:pt x="153" y="194"/>
                  <a:pt x="154" y="188"/>
                  <a:pt x="158" y="183"/>
                </a:cubicBezTo>
                <a:cubicBezTo>
                  <a:pt x="161" y="179"/>
                  <a:pt x="165" y="177"/>
                  <a:pt x="171" y="177"/>
                </a:cubicBezTo>
                <a:cubicBezTo>
                  <a:pt x="182" y="177"/>
                  <a:pt x="187" y="185"/>
                  <a:pt x="187" y="201"/>
                </a:cubicBezTo>
                <a:close/>
                <a:moveTo>
                  <a:pt x="177" y="202"/>
                </a:moveTo>
                <a:cubicBezTo>
                  <a:pt x="177" y="191"/>
                  <a:pt x="174" y="185"/>
                  <a:pt x="170" y="185"/>
                </a:cubicBezTo>
                <a:cubicBezTo>
                  <a:pt x="166" y="185"/>
                  <a:pt x="163" y="191"/>
                  <a:pt x="163" y="202"/>
                </a:cubicBezTo>
                <a:cubicBezTo>
                  <a:pt x="163" y="213"/>
                  <a:pt x="166" y="218"/>
                  <a:pt x="170" y="218"/>
                </a:cubicBezTo>
                <a:cubicBezTo>
                  <a:pt x="174" y="218"/>
                  <a:pt x="177" y="213"/>
                  <a:pt x="177" y="202"/>
                </a:cubicBezTo>
                <a:close/>
                <a:moveTo>
                  <a:pt x="229" y="225"/>
                </a:moveTo>
                <a:cubicBezTo>
                  <a:pt x="199" y="225"/>
                  <a:pt x="199" y="225"/>
                  <a:pt x="199" y="225"/>
                </a:cubicBezTo>
                <a:cubicBezTo>
                  <a:pt x="199" y="217"/>
                  <a:pt x="199" y="217"/>
                  <a:pt x="199" y="217"/>
                </a:cubicBezTo>
                <a:cubicBezTo>
                  <a:pt x="209" y="217"/>
                  <a:pt x="209" y="217"/>
                  <a:pt x="209" y="217"/>
                </a:cubicBezTo>
                <a:cubicBezTo>
                  <a:pt x="209" y="187"/>
                  <a:pt x="209" y="187"/>
                  <a:pt x="209" y="187"/>
                </a:cubicBezTo>
                <a:cubicBezTo>
                  <a:pt x="199" y="190"/>
                  <a:pt x="199" y="190"/>
                  <a:pt x="199" y="190"/>
                </a:cubicBezTo>
                <a:cubicBezTo>
                  <a:pt x="199" y="181"/>
                  <a:pt x="199" y="181"/>
                  <a:pt x="199" y="181"/>
                </a:cubicBezTo>
                <a:cubicBezTo>
                  <a:pt x="220" y="177"/>
                  <a:pt x="220" y="177"/>
                  <a:pt x="220" y="177"/>
                </a:cubicBezTo>
                <a:cubicBezTo>
                  <a:pt x="220" y="217"/>
                  <a:pt x="220" y="217"/>
                  <a:pt x="220" y="217"/>
                </a:cubicBezTo>
                <a:cubicBezTo>
                  <a:pt x="229" y="217"/>
                  <a:pt x="229" y="217"/>
                  <a:pt x="229" y="217"/>
                </a:cubicBezTo>
                <a:lnTo>
                  <a:pt x="229" y="225"/>
                </a:lnTo>
                <a:close/>
                <a:moveTo>
                  <a:pt x="273" y="225"/>
                </a:moveTo>
                <a:cubicBezTo>
                  <a:pt x="242" y="225"/>
                  <a:pt x="242" y="225"/>
                  <a:pt x="242" y="225"/>
                </a:cubicBezTo>
                <a:cubicBezTo>
                  <a:pt x="242" y="217"/>
                  <a:pt x="242" y="217"/>
                  <a:pt x="242" y="217"/>
                </a:cubicBezTo>
                <a:cubicBezTo>
                  <a:pt x="252" y="217"/>
                  <a:pt x="252" y="217"/>
                  <a:pt x="252" y="217"/>
                </a:cubicBezTo>
                <a:cubicBezTo>
                  <a:pt x="252" y="187"/>
                  <a:pt x="252" y="187"/>
                  <a:pt x="252" y="187"/>
                </a:cubicBezTo>
                <a:cubicBezTo>
                  <a:pt x="242" y="190"/>
                  <a:pt x="242" y="190"/>
                  <a:pt x="242" y="190"/>
                </a:cubicBezTo>
                <a:cubicBezTo>
                  <a:pt x="242" y="181"/>
                  <a:pt x="242" y="181"/>
                  <a:pt x="242" y="181"/>
                </a:cubicBezTo>
                <a:cubicBezTo>
                  <a:pt x="263" y="177"/>
                  <a:pt x="263" y="177"/>
                  <a:pt x="263" y="177"/>
                </a:cubicBezTo>
                <a:cubicBezTo>
                  <a:pt x="263" y="217"/>
                  <a:pt x="263" y="217"/>
                  <a:pt x="263" y="217"/>
                </a:cubicBezTo>
                <a:cubicBezTo>
                  <a:pt x="273" y="217"/>
                  <a:pt x="273" y="217"/>
                  <a:pt x="273" y="217"/>
                </a:cubicBezTo>
                <a:lnTo>
                  <a:pt x="273" y="225"/>
                </a:lnTo>
                <a:close/>
                <a:moveTo>
                  <a:pt x="317" y="201"/>
                </a:moveTo>
                <a:cubicBezTo>
                  <a:pt x="317" y="209"/>
                  <a:pt x="315" y="216"/>
                  <a:pt x="312" y="220"/>
                </a:cubicBezTo>
                <a:cubicBezTo>
                  <a:pt x="309" y="224"/>
                  <a:pt x="305" y="226"/>
                  <a:pt x="299" y="226"/>
                </a:cubicBezTo>
                <a:cubicBezTo>
                  <a:pt x="288" y="226"/>
                  <a:pt x="282" y="218"/>
                  <a:pt x="282" y="202"/>
                </a:cubicBezTo>
                <a:cubicBezTo>
                  <a:pt x="282" y="194"/>
                  <a:pt x="284" y="188"/>
                  <a:pt x="287" y="183"/>
                </a:cubicBezTo>
                <a:cubicBezTo>
                  <a:pt x="290" y="179"/>
                  <a:pt x="295" y="177"/>
                  <a:pt x="300" y="177"/>
                </a:cubicBezTo>
                <a:cubicBezTo>
                  <a:pt x="311" y="177"/>
                  <a:pt x="317" y="185"/>
                  <a:pt x="317" y="201"/>
                </a:cubicBezTo>
                <a:close/>
                <a:moveTo>
                  <a:pt x="306" y="202"/>
                </a:moveTo>
                <a:cubicBezTo>
                  <a:pt x="306" y="191"/>
                  <a:pt x="304" y="185"/>
                  <a:pt x="300" y="185"/>
                </a:cubicBezTo>
                <a:cubicBezTo>
                  <a:pt x="295" y="185"/>
                  <a:pt x="293" y="191"/>
                  <a:pt x="293" y="202"/>
                </a:cubicBezTo>
                <a:cubicBezTo>
                  <a:pt x="293" y="213"/>
                  <a:pt x="295" y="218"/>
                  <a:pt x="300" y="218"/>
                </a:cubicBezTo>
                <a:cubicBezTo>
                  <a:pt x="304" y="218"/>
                  <a:pt x="306" y="213"/>
                  <a:pt x="306" y="202"/>
                </a:cubicBezTo>
                <a:close/>
                <a:moveTo>
                  <a:pt x="360" y="201"/>
                </a:moveTo>
                <a:cubicBezTo>
                  <a:pt x="360" y="209"/>
                  <a:pt x="359" y="216"/>
                  <a:pt x="355" y="220"/>
                </a:cubicBezTo>
                <a:cubicBezTo>
                  <a:pt x="352" y="224"/>
                  <a:pt x="348" y="226"/>
                  <a:pt x="343" y="226"/>
                </a:cubicBezTo>
                <a:cubicBezTo>
                  <a:pt x="331" y="226"/>
                  <a:pt x="325" y="218"/>
                  <a:pt x="325" y="202"/>
                </a:cubicBezTo>
                <a:cubicBezTo>
                  <a:pt x="325" y="194"/>
                  <a:pt x="327" y="188"/>
                  <a:pt x="330" y="183"/>
                </a:cubicBezTo>
                <a:cubicBezTo>
                  <a:pt x="333" y="179"/>
                  <a:pt x="338" y="177"/>
                  <a:pt x="343" y="177"/>
                </a:cubicBezTo>
                <a:cubicBezTo>
                  <a:pt x="355" y="177"/>
                  <a:pt x="360" y="185"/>
                  <a:pt x="360" y="201"/>
                </a:cubicBezTo>
                <a:close/>
                <a:moveTo>
                  <a:pt x="349" y="202"/>
                </a:moveTo>
                <a:cubicBezTo>
                  <a:pt x="349" y="191"/>
                  <a:pt x="347" y="185"/>
                  <a:pt x="343" y="185"/>
                </a:cubicBezTo>
                <a:cubicBezTo>
                  <a:pt x="338" y="185"/>
                  <a:pt x="336" y="191"/>
                  <a:pt x="336" y="202"/>
                </a:cubicBezTo>
                <a:cubicBezTo>
                  <a:pt x="336" y="213"/>
                  <a:pt x="338" y="218"/>
                  <a:pt x="343" y="218"/>
                </a:cubicBezTo>
                <a:cubicBezTo>
                  <a:pt x="347" y="218"/>
                  <a:pt x="349" y="213"/>
                  <a:pt x="349" y="202"/>
                </a:cubicBezTo>
                <a:close/>
                <a:moveTo>
                  <a:pt x="186" y="302"/>
                </a:moveTo>
                <a:cubicBezTo>
                  <a:pt x="156" y="302"/>
                  <a:pt x="156" y="302"/>
                  <a:pt x="156" y="302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66" y="293"/>
                  <a:pt x="166" y="293"/>
                  <a:pt x="166" y="293"/>
                </a:cubicBezTo>
                <a:cubicBezTo>
                  <a:pt x="166" y="264"/>
                  <a:pt x="166" y="264"/>
                  <a:pt x="166" y="264"/>
                </a:cubicBezTo>
                <a:cubicBezTo>
                  <a:pt x="156" y="266"/>
                  <a:pt x="156" y="266"/>
                  <a:pt x="156" y="266"/>
                </a:cubicBezTo>
                <a:cubicBezTo>
                  <a:pt x="156" y="257"/>
                  <a:pt x="156" y="257"/>
                  <a:pt x="156" y="257"/>
                </a:cubicBezTo>
                <a:cubicBezTo>
                  <a:pt x="176" y="253"/>
                  <a:pt x="176" y="253"/>
                  <a:pt x="176" y="253"/>
                </a:cubicBezTo>
                <a:cubicBezTo>
                  <a:pt x="176" y="293"/>
                  <a:pt x="176" y="293"/>
                  <a:pt x="176" y="293"/>
                </a:cubicBezTo>
                <a:cubicBezTo>
                  <a:pt x="186" y="293"/>
                  <a:pt x="186" y="293"/>
                  <a:pt x="186" y="293"/>
                </a:cubicBezTo>
                <a:lnTo>
                  <a:pt x="186" y="302"/>
                </a:lnTo>
                <a:close/>
                <a:moveTo>
                  <a:pt x="231" y="278"/>
                </a:moveTo>
                <a:cubicBezTo>
                  <a:pt x="231" y="286"/>
                  <a:pt x="229" y="292"/>
                  <a:pt x="226" y="296"/>
                </a:cubicBezTo>
                <a:cubicBezTo>
                  <a:pt x="223" y="301"/>
                  <a:pt x="219" y="303"/>
                  <a:pt x="213" y="303"/>
                </a:cubicBezTo>
                <a:cubicBezTo>
                  <a:pt x="202" y="303"/>
                  <a:pt x="196" y="295"/>
                  <a:pt x="196" y="279"/>
                </a:cubicBezTo>
                <a:cubicBezTo>
                  <a:pt x="196" y="270"/>
                  <a:pt x="198" y="264"/>
                  <a:pt x="201" y="260"/>
                </a:cubicBezTo>
                <a:cubicBezTo>
                  <a:pt x="204" y="255"/>
                  <a:pt x="208" y="253"/>
                  <a:pt x="214" y="253"/>
                </a:cubicBezTo>
                <a:cubicBezTo>
                  <a:pt x="225" y="253"/>
                  <a:pt x="231" y="261"/>
                  <a:pt x="231" y="278"/>
                </a:cubicBezTo>
                <a:close/>
                <a:moveTo>
                  <a:pt x="220" y="278"/>
                </a:moveTo>
                <a:cubicBezTo>
                  <a:pt x="220" y="267"/>
                  <a:pt x="218" y="261"/>
                  <a:pt x="213" y="261"/>
                </a:cubicBezTo>
                <a:cubicBezTo>
                  <a:pt x="209" y="261"/>
                  <a:pt x="207" y="267"/>
                  <a:pt x="207" y="278"/>
                </a:cubicBezTo>
                <a:cubicBezTo>
                  <a:pt x="207" y="289"/>
                  <a:pt x="209" y="295"/>
                  <a:pt x="213" y="295"/>
                </a:cubicBezTo>
                <a:cubicBezTo>
                  <a:pt x="218" y="295"/>
                  <a:pt x="220" y="289"/>
                  <a:pt x="220" y="278"/>
                </a:cubicBezTo>
                <a:close/>
                <a:moveTo>
                  <a:pt x="274" y="278"/>
                </a:moveTo>
                <a:cubicBezTo>
                  <a:pt x="274" y="286"/>
                  <a:pt x="272" y="292"/>
                  <a:pt x="269" y="296"/>
                </a:cubicBezTo>
                <a:cubicBezTo>
                  <a:pt x="266" y="301"/>
                  <a:pt x="262" y="303"/>
                  <a:pt x="256" y="303"/>
                </a:cubicBezTo>
                <a:cubicBezTo>
                  <a:pt x="245" y="303"/>
                  <a:pt x="239" y="295"/>
                  <a:pt x="239" y="279"/>
                </a:cubicBezTo>
                <a:cubicBezTo>
                  <a:pt x="239" y="270"/>
                  <a:pt x="241" y="264"/>
                  <a:pt x="244" y="260"/>
                </a:cubicBezTo>
                <a:cubicBezTo>
                  <a:pt x="247" y="255"/>
                  <a:pt x="251" y="253"/>
                  <a:pt x="257" y="253"/>
                </a:cubicBezTo>
                <a:cubicBezTo>
                  <a:pt x="268" y="253"/>
                  <a:pt x="274" y="261"/>
                  <a:pt x="274" y="278"/>
                </a:cubicBezTo>
                <a:close/>
                <a:moveTo>
                  <a:pt x="263" y="278"/>
                </a:moveTo>
                <a:cubicBezTo>
                  <a:pt x="263" y="267"/>
                  <a:pt x="261" y="261"/>
                  <a:pt x="257" y="261"/>
                </a:cubicBezTo>
                <a:cubicBezTo>
                  <a:pt x="252" y="261"/>
                  <a:pt x="250" y="267"/>
                  <a:pt x="250" y="278"/>
                </a:cubicBezTo>
                <a:cubicBezTo>
                  <a:pt x="250" y="289"/>
                  <a:pt x="252" y="295"/>
                  <a:pt x="256" y="295"/>
                </a:cubicBezTo>
                <a:cubicBezTo>
                  <a:pt x="261" y="295"/>
                  <a:pt x="263" y="289"/>
                  <a:pt x="263" y="278"/>
                </a:cubicBezTo>
                <a:close/>
                <a:moveTo>
                  <a:pt x="316" y="302"/>
                </a:moveTo>
                <a:cubicBezTo>
                  <a:pt x="286" y="302"/>
                  <a:pt x="286" y="302"/>
                  <a:pt x="286" y="302"/>
                </a:cubicBezTo>
                <a:cubicBezTo>
                  <a:pt x="286" y="293"/>
                  <a:pt x="286" y="293"/>
                  <a:pt x="286" y="293"/>
                </a:cubicBezTo>
                <a:cubicBezTo>
                  <a:pt x="296" y="293"/>
                  <a:pt x="296" y="293"/>
                  <a:pt x="296" y="293"/>
                </a:cubicBezTo>
                <a:cubicBezTo>
                  <a:pt x="296" y="264"/>
                  <a:pt x="296" y="264"/>
                  <a:pt x="296" y="264"/>
                </a:cubicBezTo>
                <a:cubicBezTo>
                  <a:pt x="285" y="266"/>
                  <a:pt x="285" y="266"/>
                  <a:pt x="285" y="266"/>
                </a:cubicBezTo>
                <a:cubicBezTo>
                  <a:pt x="285" y="257"/>
                  <a:pt x="285" y="257"/>
                  <a:pt x="285" y="257"/>
                </a:cubicBezTo>
                <a:cubicBezTo>
                  <a:pt x="306" y="253"/>
                  <a:pt x="306" y="253"/>
                  <a:pt x="306" y="253"/>
                </a:cubicBezTo>
                <a:cubicBezTo>
                  <a:pt x="306" y="293"/>
                  <a:pt x="306" y="293"/>
                  <a:pt x="306" y="293"/>
                </a:cubicBezTo>
                <a:cubicBezTo>
                  <a:pt x="316" y="293"/>
                  <a:pt x="316" y="293"/>
                  <a:pt x="316" y="293"/>
                </a:cubicBezTo>
                <a:lnTo>
                  <a:pt x="316" y="302"/>
                </a:lnTo>
                <a:close/>
                <a:moveTo>
                  <a:pt x="360" y="278"/>
                </a:moveTo>
                <a:cubicBezTo>
                  <a:pt x="360" y="286"/>
                  <a:pt x="359" y="292"/>
                  <a:pt x="355" y="296"/>
                </a:cubicBezTo>
                <a:cubicBezTo>
                  <a:pt x="352" y="301"/>
                  <a:pt x="348" y="303"/>
                  <a:pt x="343" y="303"/>
                </a:cubicBezTo>
                <a:cubicBezTo>
                  <a:pt x="331" y="303"/>
                  <a:pt x="325" y="295"/>
                  <a:pt x="325" y="279"/>
                </a:cubicBezTo>
                <a:cubicBezTo>
                  <a:pt x="325" y="270"/>
                  <a:pt x="327" y="264"/>
                  <a:pt x="330" y="260"/>
                </a:cubicBezTo>
                <a:cubicBezTo>
                  <a:pt x="333" y="255"/>
                  <a:pt x="338" y="253"/>
                  <a:pt x="343" y="253"/>
                </a:cubicBezTo>
                <a:cubicBezTo>
                  <a:pt x="355" y="253"/>
                  <a:pt x="360" y="261"/>
                  <a:pt x="360" y="278"/>
                </a:cubicBezTo>
                <a:close/>
                <a:moveTo>
                  <a:pt x="349" y="278"/>
                </a:moveTo>
                <a:cubicBezTo>
                  <a:pt x="349" y="267"/>
                  <a:pt x="347" y="261"/>
                  <a:pt x="343" y="261"/>
                </a:cubicBezTo>
                <a:cubicBezTo>
                  <a:pt x="338" y="261"/>
                  <a:pt x="336" y="267"/>
                  <a:pt x="336" y="278"/>
                </a:cubicBezTo>
                <a:cubicBezTo>
                  <a:pt x="336" y="289"/>
                  <a:pt x="338" y="295"/>
                  <a:pt x="343" y="295"/>
                </a:cubicBezTo>
                <a:cubicBezTo>
                  <a:pt x="347" y="295"/>
                  <a:pt x="349" y="289"/>
                  <a:pt x="349" y="278"/>
                </a:cubicBezTo>
                <a:close/>
                <a:moveTo>
                  <a:pt x="187" y="354"/>
                </a:moveTo>
                <a:cubicBezTo>
                  <a:pt x="187" y="362"/>
                  <a:pt x="186" y="368"/>
                  <a:pt x="183" y="373"/>
                </a:cubicBezTo>
                <a:cubicBezTo>
                  <a:pt x="180" y="377"/>
                  <a:pt x="175" y="379"/>
                  <a:pt x="170" y="379"/>
                </a:cubicBezTo>
                <a:cubicBezTo>
                  <a:pt x="158" y="379"/>
                  <a:pt x="153" y="371"/>
                  <a:pt x="153" y="355"/>
                </a:cubicBezTo>
                <a:cubicBezTo>
                  <a:pt x="153" y="347"/>
                  <a:pt x="154" y="340"/>
                  <a:pt x="158" y="336"/>
                </a:cubicBezTo>
                <a:cubicBezTo>
                  <a:pt x="161" y="332"/>
                  <a:pt x="165" y="330"/>
                  <a:pt x="171" y="330"/>
                </a:cubicBezTo>
                <a:cubicBezTo>
                  <a:pt x="182" y="330"/>
                  <a:pt x="187" y="338"/>
                  <a:pt x="187" y="354"/>
                </a:cubicBezTo>
                <a:close/>
                <a:moveTo>
                  <a:pt x="177" y="354"/>
                </a:moveTo>
                <a:cubicBezTo>
                  <a:pt x="177" y="343"/>
                  <a:pt x="174" y="338"/>
                  <a:pt x="170" y="338"/>
                </a:cubicBezTo>
                <a:cubicBezTo>
                  <a:pt x="166" y="338"/>
                  <a:pt x="163" y="343"/>
                  <a:pt x="163" y="355"/>
                </a:cubicBezTo>
                <a:cubicBezTo>
                  <a:pt x="163" y="365"/>
                  <a:pt x="166" y="371"/>
                  <a:pt x="170" y="371"/>
                </a:cubicBezTo>
                <a:cubicBezTo>
                  <a:pt x="174" y="371"/>
                  <a:pt x="177" y="365"/>
                  <a:pt x="177" y="354"/>
                </a:cubicBezTo>
                <a:close/>
                <a:moveTo>
                  <a:pt x="231" y="354"/>
                </a:moveTo>
                <a:cubicBezTo>
                  <a:pt x="231" y="362"/>
                  <a:pt x="229" y="368"/>
                  <a:pt x="226" y="373"/>
                </a:cubicBezTo>
                <a:cubicBezTo>
                  <a:pt x="223" y="377"/>
                  <a:pt x="219" y="379"/>
                  <a:pt x="213" y="379"/>
                </a:cubicBezTo>
                <a:cubicBezTo>
                  <a:pt x="202" y="379"/>
                  <a:pt x="196" y="371"/>
                  <a:pt x="196" y="355"/>
                </a:cubicBezTo>
                <a:cubicBezTo>
                  <a:pt x="196" y="347"/>
                  <a:pt x="198" y="340"/>
                  <a:pt x="201" y="336"/>
                </a:cubicBezTo>
                <a:cubicBezTo>
                  <a:pt x="204" y="332"/>
                  <a:pt x="208" y="330"/>
                  <a:pt x="214" y="330"/>
                </a:cubicBezTo>
                <a:cubicBezTo>
                  <a:pt x="225" y="330"/>
                  <a:pt x="231" y="338"/>
                  <a:pt x="231" y="354"/>
                </a:cubicBezTo>
                <a:close/>
                <a:moveTo>
                  <a:pt x="220" y="354"/>
                </a:moveTo>
                <a:cubicBezTo>
                  <a:pt x="220" y="343"/>
                  <a:pt x="218" y="338"/>
                  <a:pt x="213" y="338"/>
                </a:cubicBezTo>
                <a:cubicBezTo>
                  <a:pt x="209" y="338"/>
                  <a:pt x="207" y="343"/>
                  <a:pt x="207" y="355"/>
                </a:cubicBezTo>
                <a:cubicBezTo>
                  <a:pt x="207" y="365"/>
                  <a:pt x="209" y="371"/>
                  <a:pt x="213" y="371"/>
                </a:cubicBezTo>
                <a:cubicBezTo>
                  <a:pt x="218" y="371"/>
                  <a:pt x="220" y="365"/>
                  <a:pt x="220" y="354"/>
                </a:cubicBezTo>
                <a:close/>
                <a:moveTo>
                  <a:pt x="273" y="378"/>
                </a:moveTo>
                <a:cubicBezTo>
                  <a:pt x="242" y="378"/>
                  <a:pt x="242" y="378"/>
                  <a:pt x="242" y="378"/>
                </a:cubicBezTo>
                <a:cubicBezTo>
                  <a:pt x="242" y="370"/>
                  <a:pt x="242" y="370"/>
                  <a:pt x="242" y="370"/>
                </a:cubicBezTo>
                <a:cubicBezTo>
                  <a:pt x="252" y="370"/>
                  <a:pt x="252" y="370"/>
                  <a:pt x="252" y="370"/>
                </a:cubicBezTo>
                <a:cubicBezTo>
                  <a:pt x="252" y="340"/>
                  <a:pt x="252" y="340"/>
                  <a:pt x="252" y="340"/>
                </a:cubicBezTo>
                <a:cubicBezTo>
                  <a:pt x="242" y="342"/>
                  <a:pt x="242" y="342"/>
                  <a:pt x="242" y="342"/>
                </a:cubicBezTo>
                <a:cubicBezTo>
                  <a:pt x="242" y="334"/>
                  <a:pt x="242" y="334"/>
                  <a:pt x="242" y="334"/>
                </a:cubicBezTo>
                <a:cubicBezTo>
                  <a:pt x="263" y="330"/>
                  <a:pt x="263" y="330"/>
                  <a:pt x="263" y="330"/>
                </a:cubicBezTo>
                <a:cubicBezTo>
                  <a:pt x="263" y="370"/>
                  <a:pt x="263" y="370"/>
                  <a:pt x="263" y="370"/>
                </a:cubicBezTo>
                <a:cubicBezTo>
                  <a:pt x="273" y="370"/>
                  <a:pt x="273" y="370"/>
                  <a:pt x="273" y="370"/>
                </a:cubicBezTo>
                <a:lnTo>
                  <a:pt x="273" y="378"/>
                </a:lnTo>
                <a:close/>
                <a:moveTo>
                  <a:pt x="317" y="354"/>
                </a:moveTo>
                <a:cubicBezTo>
                  <a:pt x="317" y="362"/>
                  <a:pt x="315" y="368"/>
                  <a:pt x="312" y="373"/>
                </a:cubicBezTo>
                <a:cubicBezTo>
                  <a:pt x="309" y="377"/>
                  <a:pt x="305" y="379"/>
                  <a:pt x="299" y="379"/>
                </a:cubicBezTo>
                <a:cubicBezTo>
                  <a:pt x="288" y="379"/>
                  <a:pt x="282" y="371"/>
                  <a:pt x="282" y="355"/>
                </a:cubicBezTo>
                <a:cubicBezTo>
                  <a:pt x="282" y="347"/>
                  <a:pt x="284" y="340"/>
                  <a:pt x="287" y="336"/>
                </a:cubicBezTo>
                <a:cubicBezTo>
                  <a:pt x="290" y="332"/>
                  <a:pt x="295" y="330"/>
                  <a:pt x="300" y="330"/>
                </a:cubicBezTo>
                <a:cubicBezTo>
                  <a:pt x="311" y="330"/>
                  <a:pt x="317" y="338"/>
                  <a:pt x="317" y="354"/>
                </a:cubicBezTo>
                <a:close/>
                <a:moveTo>
                  <a:pt x="306" y="354"/>
                </a:moveTo>
                <a:cubicBezTo>
                  <a:pt x="306" y="343"/>
                  <a:pt x="304" y="338"/>
                  <a:pt x="300" y="338"/>
                </a:cubicBezTo>
                <a:cubicBezTo>
                  <a:pt x="295" y="338"/>
                  <a:pt x="293" y="343"/>
                  <a:pt x="293" y="355"/>
                </a:cubicBezTo>
                <a:cubicBezTo>
                  <a:pt x="293" y="365"/>
                  <a:pt x="295" y="371"/>
                  <a:pt x="300" y="371"/>
                </a:cubicBezTo>
                <a:cubicBezTo>
                  <a:pt x="304" y="371"/>
                  <a:pt x="306" y="365"/>
                  <a:pt x="306" y="354"/>
                </a:cubicBezTo>
                <a:close/>
                <a:moveTo>
                  <a:pt x="359" y="378"/>
                </a:moveTo>
                <a:cubicBezTo>
                  <a:pt x="329" y="378"/>
                  <a:pt x="329" y="378"/>
                  <a:pt x="329" y="378"/>
                </a:cubicBezTo>
                <a:cubicBezTo>
                  <a:pt x="329" y="370"/>
                  <a:pt x="329" y="370"/>
                  <a:pt x="329" y="370"/>
                </a:cubicBezTo>
                <a:cubicBezTo>
                  <a:pt x="339" y="370"/>
                  <a:pt x="339" y="370"/>
                  <a:pt x="339" y="370"/>
                </a:cubicBezTo>
                <a:cubicBezTo>
                  <a:pt x="339" y="340"/>
                  <a:pt x="339" y="340"/>
                  <a:pt x="339" y="340"/>
                </a:cubicBezTo>
                <a:cubicBezTo>
                  <a:pt x="329" y="342"/>
                  <a:pt x="329" y="342"/>
                  <a:pt x="329" y="342"/>
                </a:cubicBezTo>
                <a:cubicBezTo>
                  <a:pt x="329" y="334"/>
                  <a:pt x="329" y="334"/>
                  <a:pt x="329" y="334"/>
                </a:cubicBezTo>
                <a:cubicBezTo>
                  <a:pt x="349" y="330"/>
                  <a:pt x="349" y="330"/>
                  <a:pt x="349" y="330"/>
                </a:cubicBezTo>
                <a:cubicBezTo>
                  <a:pt x="349" y="370"/>
                  <a:pt x="349" y="370"/>
                  <a:pt x="349" y="370"/>
                </a:cubicBezTo>
                <a:cubicBezTo>
                  <a:pt x="359" y="370"/>
                  <a:pt x="359" y="370"/>
                  <a:pt x="359" y="370"/>
                </a:cubicBezTo>
                <a:lnTo>
                  <a:pt x="359" y="3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169862" y="3514576"/>
            <a:ext cx="1749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重构后台数据库结构，重新开发数据采集功能，提升数据采集的效率和可扩展性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8753097" y="2103660"/>
            <a:ext cx="1080000" cy="1080000"/>
            <a:chOff x="6687403" y="2019253"/>
            <a:chExt cx="1080000" cy="1080000"/>
          </a:xfrm>
        </p:grpSpPr>
        <p:sp>
          <p:nvSpPr>
            <p:cNvPr id="21" name="Rectangle 51"/>
            <p:cNvSpPr/>
            <p:nvPr/>
          </p:nvSpPr>
          <p:spPr>
            <a:xfrm rot="2777540">
              <a:off x="6687403" y="2019253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" name="Rounded Rectangle 100"/>
            <p:cNvSpPr/>
            <p:nvPr>
              <p:custDataLst>
                <p:tags r:id="rId1"/>
              </p:custDataLst>
            </p:nvPr>
          </p:nvSpPr>
          <p:spPr bwMode="auto">
            <a:xfrm>
              <a:off x="6892964" y="2308125"/>
              <a:ext cx="720080" cy="502257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12" tIns="46607" rIns="46607" bIns="93212" numCol="1" spcCol="0" rtlCol="0" fromWordArt="0" anchor="b" anchorCtr="0" forceAA="0" compatLnSpc="1">
              <a:noAutofit/>
            </a:bodyPr>
            <a:lstStyle/>
            <a:p>
              <a:pPr marL="0" marR="0" lvl="0" indent="0" algn="ctr" defTabSz="931545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-51" normalizeH="0" baseline="0" noProof="0" dirty="0" err="1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5" name="直接连接符 24"/>
          <p:cNvCxnSpPr/>
          <p:nvPr/>
        </p:nvCxnSpPr>
        <p:spPr bwMode="auto">
          <a:xfrm flipV="1">
            <a:off x="6738222" y="2613810"/>
            <a:ext cx="1791393" cy="842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6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文本框 25"/>
          <p:cNvSpPr txBox="1"/>
          <p:nvPr/>
        </p:nvSpPr>
        <p:spPr>
          <a:xfrm>
            <a:off x="8529615" y="3561372"/>
            <a:ext cx="174909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开放采集数据条件查询功能，使用户对查询条件做到可按需定制，改变每次活跃数信息变更就需要重新开发应用的局面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562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一期功能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资源库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168" y="1199851"/>
            <a:ext cx="9580952" cy="504761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4" y="395785"/>
            <a:ext cx="67289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一期功能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40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子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服务器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976517" y="2044006"/>
            <a:ext cx="1080000" cy="1080000"/>
            <a:chOff x="1262422" y="2480105"/>
            <a:chExt cx="1080000" cy="1080000"/>
          </a:xfrm>
        </p:grpSpPr>
        <p:sp>
          <p:nvSpPr>
            <p:cNvPr id="5" name="Rectangle 51"/>
            <p:cNvSpPr/>
            <p:nvPr/>
          </p:nvSpPr>
          <p:spPr>
            <a:xfrm rot="2868705">
              <a:off x="1262422" y="2480105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6" name="Freeform 5"/>
            <p:cNvSpPr>
              <a:spLocks noChangeAspect="1" noEditPoints="1"/>
            </p:cNvSpPr>
            <p:nvPr/>
          </p:nvSpPr>
          <p:spPr bwMode="auto">
            <a:xfrm>
              <a:off x="1495115" y="2688262"/>
              <a:ext cx="603921" cy="723294"/>
            </a:xfrm>
            <a:custGeom>
              <a:avLst/>
              <a:gdLst>
                <a:gd name="T0" fmla="*/ 32 w 432"/>
                <a:gd name="T1" fmla="*/ 420 h 508"/>
                <a:gd name="T2" fmla="*/ 258 w 432"/>
                <a:gd name="T3" fmla="*/ 420 h 508"/>
                <a:gd name="T4" fmla="*/ 258 w 432"/>
                <a:gd name="T5" fmla="*/ 452 h 508"/>
                <a:gd name="T6" fmla="*/ 0 w 432"/>
                <a:gd name="T7" fmla="*/ 452 h 508"/>
                <a:gd name="T8" fmla="*/ 0 w 432"/>
                <a:gd name="T9" fmla="*/ 120 h 508"/>
                <a:gd name="T10" fmla="*/ 120 w 432"/>
                <a:gd name="T11" fmla="*/ 0 h 508"/>
                <a:gd name="T12" fmla="*/ 352 w 432"/>
                <a:gd name="T13" fmla="*/ 0 h 508"/>
                <a:gd name="T14" fmla="*/ 352 w 432"/>
                <a:gd name="T15" fmla="*/ 150 h 508"/>
                <a:gd name="T16" fmla="*/ 320 w 432"/>
                <a:gd name="T17" fmla="*/ 150 h 508"/>
                <a:gd name="T18" fmla="*/ 320 w 432"/>
                <a:gd name="T19" fmla="*/ 32 h 508"/>
                <a:gd name="T20" fmla="*/ 136 w 432"/>
                <a:gd name="T21" fmla="*/ 32 h 508"/>
                <a:gd name="T22" fmla="*/ 136 w 432"/>
                <a:gd name="T23" fmla="*/ 136 h 508"/>
                <a:gd name="T24" fmla="*/ 32 w 432"/>
                <a:gd name="T25" fmla="*/ 136 h 508"/>
                <a:gd name="T26" fmla="*/ 32 w 432"/>
                <a:gd name="T27" fmla="*/ 420 h 508"/>
                <a:gd name="T28" fmla="*/ 303 w 432"/>
                <a:gd name="T29" fmla="*/ 236 h 508"/>
                <a:gd name="T30" fmla="*/ 303 w 432"/>
                <a:gd name="T31" fmla="*/ 236 h 508"/>
                <a:gd name="T32" fmla="*/ 284 w 432"/>
                <a:gd name="T33" fmla="*/ 265 h 508"/>
                <a:gd name="T34" fmla="*/ 284 w 432"/>
                <a:gd name="T35" fmla="*/ 265 h 508"/>
                <a:gd name="T36" fmla="*/ 272 w 432"/>
                <a:gd name="T37" fmla="*/ 277 h 508"/>
                <a:gd name="T38" fmla="*/ 259 w 432"/>
                <a:gd name="T39" fmla="*/ 265 h 508"/>
                <a:gd name="T40" fmla="*/ 259 w 432"/>
                <a:gd name="T41" fmla="*/ 263 h 508"/>
                <a:gd name="T42" fmla="*/ 296 w 432"/>
                <a:gd name="T43" fmla="*/ 213 h 508"/>
                <a:gd name="T44" fmla="*/ 298 w 432"/>
                <a:gd name="T45" fmla="*/ 212 h 508"/>
                <a:gd name="T46" fmla="*/ 311 w 432"/>
                <a:gd name="T47" fmla="*/ 225 h 508"/>
                <a:gd name="T48" fmla="*/ 303 w 432"/>
                <a:gd name="T49" fmla="*/ 236 h 508"/>
                <a:gd name="T50" fmla="*/ 330 w 432"/>
                <a:gd name="T51" fmla="*/ 180 h 508"/>
                <a:gd name="T52" fmla="*/ 329 w 432"/>
                <a:gd name="T53" fmla="*/ 180 h 508"/>
                <a:gd name="T54" fmla="*/ 229 w 432"/>
                <a:gd name="T55" fmla="*/ 275 h 508"/>
                <a:gd name="T56" fmla="*/ 265 w 432"/>
                <a:gd name="T57" fmla="*/ 353 h 508"/>
                <a:gd name="T58" fmla="*/ 273 w 432"/>
                <a:gd name="T59" fmla="*/ 371 h 508"/>
                <a:gd name="T60" fmla="*/ 276 w 432"/>
                <a:gd name="T61" fmla="*/ 390 h 508"/>
                <a:gd name="T62" fmla="*/ 289 w 432"/>
                <a:gd name="T63" fmla="*/ 419 h 508"/>
                <a:gd name="T64" fmla="*/ 374 w 432"/>
                <a:gd name="T65" fmla="*/ 419 h 508"/>
                <a:gd name="T66" fmla="*/ 386 w 432"/>
                <a:gd name="T67" fmla="*/ 390 h 508"/>
                <a:gd name="T68" fmla="*/ 397 w 432"/>
                <a:gd name="T69" fmla="*/ 353 h 508"/>
                <a:gd name="T70" fmla="*/ 415 w 432"/>
                <a:gd name="T71" fmla="*/ 322 h 508"/>
                <a:gd name="T72" fmla="*/ 432 w 432"/>
                <a:gd name="T73" fmla="*/ 275 h 508"/>
                <a:gd name="T74" fmla="*/ 330 w 432"/>
                <a:gd name="T75" fmla="*/ 180 h 508"/>
                <a:gd name="T76" fmla="*/ 311 w 432"/>
                <a:gd name="T77" fmla="*/ 499 h 508"/>
                <a:gd name="T78" fmla="*/ 324 w 432"/>
                <a:gd name="T79" fmla="*/ 508 h 508"/>
                <a:gd name="T80" fmla="*/ 342 w 432"/>
                <a:gd name="T81" fmla="*/ 508 h 508"/>
                <a:gd name="T82" fmla="*/ 354 w 432"/>
                <a:gd name="T83" fmla="*/ 499 h 508"/>
                <a:gd name="T84" fmla="*/ 311 w 432"/>
                <a:gd name="T85" fmla="*/ 499 h 508"/>
                <a:gd name="T86" fmla="*/ 364 w 432"/>
                <a:gd name="T87" fmla="*/ 465 h 508"/>
                <a:gd name="T88" fmla="*/ 300 w 432"/>
                <a:gd name="T89" fmla="*/ 465 h 508"/>
                <a:gd name="T90" fmla="*/ 287 w 432"/>
                <a:gd name="T91" fmla="*/ 476 h 508"/>
                <a:gd name="T92" fmla="*/ 301 w 432"/>
                <a:gd name="T93" fmla="*/ 488 h 508"/>
                <a:gd name="T94" fmla="*/ 364 w 432"/>
                <a:gd name="T95" fmla="*/ 488 h 508"/>
                <a:gd name="T96" fmla="*/ 378 w 432"/>
                <a:gd name="T97" fmla="*/ 476 h 508"/>
                <a:gd name="T98" fmla="*/ 364 w 432"/>
                <a:gd name="T99" fmla="*/ 465 h 508"/>
                <a:gd name="T100" fmla="*/ 364 w 432"/>
                <a:gd name="T101" fmla="*/ 430 h 508"/>
                <a:gd name="T102" fmla="*/ 300 w 432"/>
                <a:gd name="T103" fmla="*/ 430 h 508"/>
                <a:gd name="T104" fmla="*/ 287 w 432"/>
                <a:gd name="T105" fmla="*/ 442 h 508"/>
                <a:gd name="T106" fmla="*/ 301 w 432"/>
                <a:gd name="T107" fmla="*/ 453 h 508"/>
                <a:gd name="T108" fmla="*/ 364 w 432"/>
                <a:gd name="T109" fmla="*/ 453 h 508"/>
                <a:gd name="T110" fmla="*/ 378 w 432"/>
                <a:gd name="T111" fmla="*/ 442 h 508"/>
                <a:gd name="T112" fmla="*/ 364 w 432"/>
                <a:gd name="T113" fmla="*/ 43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2" h="508">
                  <a:moveTo>
                    <a:pt x="32" y="420"/>
                  </a:moveTo>
                  <a:cubicBezTo>
                    <a:pt x="258" y="420"/>
                    <a:pt x="258" y="420"/>
                    <a:pt x="258" y="420"/>
                  </a:cubicBezTo>
                  <a:cubicBezTo>
                    <a:pt x="258" y="452"/>
                    <a:pt x="258" y="452"/>
                    <a:pt x="258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352" y="0"/>
                    <a:pt x="352" y="0"/>
                    <a:pt x="352" y="0"/>
                  </a:cubicBezTo>
                  <a:cubicBezTo>
                    <a:pt x="352" y="150"/>
                    <a:pt x="352" y="150"/>
                    <a:pt x="352" y="150"/>
                  </a:cubicBezTo>
                  <a:cubicBezTo>
                    <a:pt x="320" y="150"/>
                    <a:pt x="320" y="150"/>
                    <a:pt x="320" y="150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32" y="136"/>
                    <a:pt x="32" y="136"/>
                    <a:pt x="32" y="136"/>
                  </a:cubicBezTo>
                  <a:lnTo>
                    <a:pt x="32" y="420"/>
                  </a:lnTo>
                  <a:close/>
                  <a:moveTo>
                    <a:pt x="303" y="236"/>
                  </a:moveTo>
                  <a:cubicBezTo>
                    <a:pt x="303" y="236"/>
                    <a:pt x="303" y="236"/>
                    <a:pt x="303" y="236"/>
                  </a:cubicBezTo>
                  <a:cubicBezTo>
                    <a:pt x="290" y="240"/>
                    <a:pt x="285" y="254"/>
                    <a:pt x="284" y="265"/>
                  </a:cubicBezTo>
                  <a:cubicBezTo>
                    <a:pt x="284" y="265"/>
                    <a:pt x="284" y="265"/>
                    <a:pt x="284" y="265"/>
                  </a:cubicBezTo>
                  <a:cubicBezTo>
                    <a:pt x="284" y="272"/>
                    <a:pt x="278" y="277"/>
                    <a:pt x="272" y="277"/>
                  </a:cubicBezTo>
                  <a:cubicBezTo>
                    <a:pt x="265" y="277"/>
                    <a:pt x="259" y="272"/>
                    <a:pt x="259" y="265"/>
                  </a:cubicBezTo>
                  <a:cubicBezTo>
                    <a:pt x="259" y="264"/>
                    <a:pt x="259" y="263"/>
                    <a:pt x="259" y="263"/>
                  </a:cubicBezTo>
                  <a:cubicBezTo>
                    <a:pt x="261" y="238"/>
                    <a:pt x="275" y="218"/>
                    <a:pt x="296" y="213"/>
                  </a:cubicBezTo>
                  <a:cubicBezTo>
                    <a:pt x="296" y="213"/>
                    <a:pt x="297" y="212"/>
                    <a:pt x="298" y="212"/>
                  </a:cubicBezTo>
                  <a:cubicBezTo>
                    <a:pt x="305" y="212"/>
                    <a:pt x="311" y="218"/>
                    <a:pt x="311" y="225"/>
                  </a:cubicBezTo>
                  <a:cubicBezTo>
                    <a:pt x="311" y="230"/>
                    <a:pt x="307" y="235"/>
                    <a:pt x="303" y="236"/>
                  </a:cubicBezTo>
                  <a:close/>
                  <a:moveTo>
                    <a:pt x="330" y="180"/>
                  </a:moveTo>
                  <a:cubicBezTo>
                    <a:pt x="330" y="180"/>
                    <a:pt x="330" y="180"/>
                    <a:pt x="329" y="180"/>
                  </a:cubicBezTo>
                  <a:cubicBezTo>
                    <a:pt x="274" y="180"/>
                    <a:pt x="229" y="222"/>
                    <a:pt x="229" y="275"/>
                  </a:cubicBezTo>
                  <a:cubicBezTo>
                    <a:pt x="229" y="305"/>
                    <a:pt x="253" y="326"/>
                    <a:pt x="265" y="353"/>
                  </a:cubicBezTo>
                  <a:cubicBezTo>
                    <a:pt x="269" y="360"/>
                    <a:pt x="271" y="365"/>
                    <a:pt x="273" y="371"/>
                  </a:cubicBezTo>
                  <a:cubicBezTo>
                    <a:pt x="275" y="378"/>
                    <a:pt x="275" y="384"/>
                    <a:pt x="276" y="390"/>
                  </a:cubicBezTo>
                  <a:cubicBezTo>
                    <a:pt x="278" y="401"/>
                    <a:pt x="280" y="411"/>
                    <a:pt x="289" y="419"/>
                  </a:cubicBezTo>
                  <a:cubicBezTo>
                    <a:pt x="289" y="419"/>
                    <a:pt x="374" y="419"/>
                    <a:pt x="374" y="419"/>
                  </a:cubicBezTo>
                  <a:cubicBezTo>
                    <a:pt x="384" y="412"/>
                    <a:pt x="385" y="401"/>
                    <a:pt x="386" y="390"/>
                  </a:cubicBezTo>
                  <a:cubicBezTo>
                    <a:pt x="388" y="379"/>
                    <a:pt x="389" y="368"/>
                    <a:pt x="397" y="353"/>
                  </a:cubicBezTo>
                  <a:cubicBezTo>
                    <a:pt x="402" y="342"/>
                    <a:pt x="409" y="332"/>
                    <a:pt x="415" y="322"/>
                  </a:cubicBezTo>
                  <a:cubicBezTo>
                    <a:pt x="424" y="308"/>
                    <a:pt x="432" y="293"/>
                    <a:pt x="432" y="275"/>
                  </a:cubicBezTo>
                  <a:cubicBezTo>
                    <a:pt x="432" y="222"/>
                    <a:pt x="386" y="180"/>
                    <a:pt x="330" y="180"/>
                  </a:cubicBezTo>
                  <a:close/>
                  <a:moveTo>
                    <a:pt x="311" y="499"/>
                  </a:moveTo>
                  <a:cubicBezTo>
                    <a:pt x="311" y="499"/>
                    <a:pt x="313" y="508"/>
                    <a:pt x="324" y="508"/>
                  </a:cubicBezTo>
                  <a:cubicBezTo>
                    <a:pt x="342" y="508"/>
                    <a:pt x="342" y="508"/>
                    <a:pt x="342" y="508"/>
                  </a:cubicBezTo>
                  <a:cubicBezTo>
                    <a:pt x="352" y="508"/>
                    <a:pt x="354" y="499"/>
                    <a:pt x="354" y="499"/>
                  </a:cubicBezTo>
                  <a:lnTo>
                    <a:pt x="311" y="499"/>
                  </a:lnTo>
                  <a:close/>
                  <a:moveTo>
                    <a:pt x="364" y="465"/>
                  </a:moveTo>
                  <a:cubicBezTo>
                    <a:pt x="300" y="465"/>
                    <a:pt x="300" y="465"/>
                    <a:pt x="300" y="465"/>
                  </a:cubicBezTo>
                  <a:cubicBezTo>
                    <a:pt x="293" y="465"/>
                    <a:pt x="287" y="470"/>
                    <a:pt x="287" y="476"/>
                  </a:cubicBezTo>
                  <a:cubicBezTo>
                    <a:pt x="287" y="483"/>
                    <a:pt x="293" y="488"/>
                    <a:pt x="301" y="488"/>
                  </a:cubicBezTo>
                  <a:cubicBezTo>
                    <a:pt x="301" y="488"/>
                    <a:pt x="364" y="488"/>
                    <a:pt x="364" y="488"/>
                  </a:cubicBezTo>
                  <a:cubicBezTo>
                    <a:pt x="372" y="488"/>
                    <a:pt x="378" y="483"/>
                    <a:pt x="378" y="476"/>
                  </a:cubicBezTo>
                  <a:cubicBezTo>
                    <a:pt x="378" y="470"/>
                    <a:pt x="372" y="465"/>
                    <a:pt x="364" y="465"/>
                  </a:cubicBezTo>
                  <a:close/>
                  <a:moveTo>
                    <a:pt x="364" y="430"/>
                  </a:moveTo>
                  <a:cubicBezTo>
                    <a:pt x="300" y="430"/>
                    <a:pt x="300" y="430"/>
                    <a:pt x="300" y="430"/>
                  </a:cubicBezTo>
                  <a:cubicBezTo>
                    <a:pt x="293" y="430"/>
                    <a:pt x="287" y="435"/>
                    <a:pt x="287" y="442"/>
                  </a:cubicBezTo>
                  <a:cubicBezTo>
                    <a:pt x="287" y="448"/>
                    <a:pt x="293" y="453"/>
                    <a:pt x="301" y="453"/>
                  </a:cubicBezTo>
                  <a:cubicBezTo>
                    <a:pt x="302" y="453"/>
                    <a:pt x="364" y="453"/>
                    <a:pt x="364" y="453"/>
                  </a:cubicBezTo>
                  <a:cubicBezTo>
                    <a:pt x="372" y="453"/>
                    <a:pt x="378" y="448"/>
                    <a:pt x="378" y="442"/>
                  </a:cubicBezTo>
                  <a:cubicBezTo>
                    <a:pt x="378" y="435"/>
                    <a:pt x="372" y="430"/>
                    <a:pt x="364" y="4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cxnSp>
        <p:nvCxnSpPr>
          <p:cNvPr id="4" name="直接连接符 3"/>
          <p:cNvCxnSpPr/>
          <p:nvPr/>
        </p:nvCxnSpPr>
        <p:spPr bwMode="auto">
          <a:xfrm flipV="1">
            <a:off x="3242174" y="2630658"/>
            <a:ext cx="1989151" cy="842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6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文本框 6"/>
          <p:cNvSpPr txBox="1"/>
          <p:nvPr/>
        </p:nvSpPr>
        <p:spPr>
          <a:xfrm>
            <a:off x="1753761" y="3516924"/>
            <a:ext cx="17490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针对目前子服务器的情况，子服务器进一步瘦身，改变其镜像的属性，重新进行产品定义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51"/>
          <p:cNvSpPr/>
          <p:nvPr/>
        </p:nvSpPr>
        <p:spPr>
          <a:xfrm rot="2817829">
            <a:off x="5475187" y="2069269"/>
            <a:ext cx="1048497" cy="1122778"/>
          </a:xfrm>
          <a:prstGeom prst="rect">
            <a:avLst/>
          </a:prstGeom>
          <a:solidFill>
            <a:srgbClr val="FF6064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9" name="Freeform 11"/>
          <p:cNvSpPr>
            <a:spLocks noChangeAspect="1" noEditPoints="1"/>
          </p:cNvSpPr>
          <p:nvPr/>
        </p:nvSpPr>
        <p:spPr bwMode="auto">
          <a:xfrm>
            <a:off x="5731879" y="2310989"/>
            <a:ext cx="577300" cy="684934"/>
          </a:xfrm>
          <a:custGeom>
            <a:avLst/>
            <a:gdLst>
              <a:gd name="T0" fmla="*/ 120 w 432"/>
              <a:gd name="T1" fmla="*/ 56 h 508"/>
              <a:gd name="T2" fmla="*/ 352 w 432"/>
              <a:gd name="T3" fmla="*/ 452 h 508"/>
              <a:gd name="T4" fmla="*/ 32 w 432"/>
              <a:gd name="T5" fmla="*/ 476 h 508"/>
              <a:gd name="T6" fmla="*/ 320 w 432"/>
              <a:gd name="T7" fmla="*/ 452 h 508"/>
              <a:gd name="T8" fmla="*/ 112 w 432"/>
              <a:gd name="T9" fmla="*/ 136 h 508"/>
              <a:gd name="T10" fmla="*/ 400 w 432"/>
              <a:gd name="T11" fmla="*/ 420 h 508"/>
              <a:gd name="T12" fmla="*/ 153 w 432"/>
              <a:gd name="T13" fmla="*/ 202 h 508"/>
              <a:gd name="T14" fmla="*/ 177 w 432"/>
              <a:gd name="T15" fmla="*/ 202 h 508"/>
              <a:gd name="T16" fmla="*/ 177 w 432"/>
              <a:gd name="T17" fmla="*/ 202 h 508"/>
              <a:gd name="T18" fmla="*/ 209 w 432"/>
              <a:gd name="T19" fmla="*/ 217 h 508"/>
              <a:gd name="T20" fmla="*/ 220 w 432"/>
              <a:gd name="T21" fmla="*/ 177 h 508"/>
              <a:gd name="T22" fmla="*/ 273 w 432"/>
              <a:gd name="T23" fmla="*/ 225 h 508"/>
              <a:gd name="T24" fmla="*/ 252 w 432"/>
              <a:gd name="T25" fmla="*/ 187 h 508"/>
              <a:gd name="T26" fmla="*/ 263 w 432"/>
              <a:gd name="T27" fmla="*/ 217 h 508"/>
              <a:gd name="T28" fmla="*/ 312 w 432"/>
              <a:gd name="T29" fmla="*/ 220 h 508"/>
              <a:gd name="T30" fmla="*/ 300 w 432"/>
              <a:gd name="T31" fmla="*/ 177 h 508"/>
              <a:gd name="T32" fmla="*/ 293 w 432"/>
              <a:gd name="T33" fmla="*/ 202 h 508"/>
              <a:gd name="T34" fmla="*/ 355 w 432"/>
              <a:gd name="T35" fmla="*/ 220 h 508"/>
              <a:gd name="T36" fmla="*/ 343 w 432"/>
              <a:gd name="T37" fmla="*/ 177 h 508"/>
              <a:gd name="T38" fmla="*/ 336 w 432"/>
              <a:gd name="T39" fmla="*/ 202 h 508"/>
              <a:gd name="T40" fmla="*/ 156 w 432"/>
              <a:gd name="T41" fmla="*/ 302 h 508"/>
              <a:gd name="T42" fmla="*/ 156 w 432"/>
              <a:gd name="T43" fmla="*/ 266 h 508"/>
              <a:gd name="T44" fmla="*/ 186 w 432"/>
              <a:gd name="T45" fmla="*/ 293 h 508"/>
              <a:gd name="T46" fmla="*/ 213 w 432"/>
              <a:gd name="T47" fmla="*/ 303 h 508"/>
              <a:gd name="T48" fmla="*/ 231 w 432"/>
              <a:gd name="T49" fmla="*/ 278 h 508"/>
              <a:gd name="T50" fmla="*/ 213 w 432"/>
              <a:gd name="T51" fmla="*/ 295 h 508"/>
              <a:gd name="T52" fmla="*/ 256 w 432"/>
              <a:gd name="T53" fmla="*/ 303 h 508"/>
              <a:gd name="T54" fmla="*/ 274 w 432"/>
              <a:gd name="T55" fmla="*/ 278 h 508"/>
              <a:gd name="T56" fmla="*/ 256 w 432"/>
              <a:gd name="T57" fmla="*/ 295 h 508"/>
              <a:gd name="T58" fmla="*/ 286 w 432"/>
              <a:gd name="T59" fmla="*/ 293 h 508"/>
              <a:gd name="T60" fmla="*/ 285 w 432"/>
              <a:gd name="T61" fmla="*/ 257 h 508"/>
              <a:gd name="T62" fmla="*/ 316 w 432"/>
              <a:gd name="T63" fmla="*/ 302 h 508"/>
              <a:gd name="T64" fmla="*/ 325 w 432"/>
              <a:gd name="T65" fmla="*/ 279 h 508"/>
              <a:gd name="T66" fmla="*/ 349 w 432"/>
              <a:gd name="T67" fmla="*/ 278 h 508"/>
              <a:gd name="T68" fmla="*/ 349 w 432"/>
              <a:gd name="T69" fmla="*/ 278 h 508"/>
              <a:gd name="T70" fmla="*/ 153 w 432"/>
              <a:gd name="T71" fmla="*/ 355 h 508"/>
              <a:gd name="T72" fmla="*/ 177 w 432"/>
              <a:gd name="T73" fmla="*/ 354 h 508"/>
              <a:gd name="T74" fmla="*/ 177 w 432"/>
              <a:gd name="T75" fmla="*/ 354 h 508"/>
              <a:gd name="T76" fmla="*/ 196 w 432"/>
              <a:gd name="T77" fmla="*/ 355 h 508"/>
              <a:gd name="T78" fmla="*/ 220 w 432"/>
              <a:gd name="T79" fmla="*/ 354 h 508"/>
              <a:gd name="T80" fmla="*/ 220 w 432"/>
              <a:gd name="T81" fmla="*/ 354 h 508"/>
              <a:gd name="T82" fmla="*/ 252 w 432"/>
              <a:gd name="T83" fmla="*/ 370 h 508"/>
              <a:gd name="T84" fmla="*/ 263 w 432"/>
              <a:gd name="T85" fmla="*/ 330 h 508"/>
              <a:gd name="T86" fmla="*/ 317 w 432"/>
              <a:gd name="T87" fmla="*/ 354 h 508"/>
              <a:gd name="T88" fmla="*/ 287 w 432"/>
              <a:gd name="T89" fmla="*/ 336 h 508"/>
              <a:gd name="T90" fmla="*/ 300 w 432"/>
              <a:gd name="T91" fmla="*/ 338 h 508"/>
              <a:gd name="T92" fmla="*/ 359 w 432"/>
              <a:gd name="T93" fmla="*/ 378 h 508"/>
              <a:gd name="T94" fmla="*/ 339 w 432"/>
              <a:gd name="T95" fmla="*/ 340 h 508"/>
              <a:gd name="T96" fmla="*/ 349 w 432"/>
              <a:gd name="T97" fmla="*/ 37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2" h="508">
                <a:moveTo>
                  <a:pt x="432" y="0"/>
                </a:moveTo>
                <a:cubicBezTo>
                  <a:pt x="200" y="0"/>
                  <a:pt x="200" y="0"/>
                  <a:pt x="200" y="0"/>
                </a:cubicBezTo>
                <a:cubicBezTo>
                  <a:pt x="144" y="56"/>
                  <a:pt x="144" y="56"/>
                  <a:pt x="144" y="56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508"/>
                  <a:pt x="0" y="508"/>
                  <a:pt x="0" y="508"/>
                </a:cubicBezTo>
                <a:cubicBezTo>
                  <a:pt x="352" y="508"/>
                  <a:pt x="352" y="508"/>
                  <a:pt x="352" y="508"/>
                </a:cubicBezTo>
                <a:cubicBezTo>
                  <a:pt x="352" y="452"/>
                  <a:pt x="352" y="452"/>
                  <a:pt x="352" y="452"/>
                </a:cubicBezTo>
                <a:cubicBezTo>
                  <a:pt x="432" y="452"/>
                  <a:pt x="432" y="452"/>
                  <a:pt x="432" y="452"/>
                </a:cubicBezTo>
                <a:lnTo>
                  <a:pt x="432" y="0"/>
                </a:lnTo>
                <a:close/>
                <a:moveTo>
                  <a:pt x="320" y="476"/>
                </a:moveTo>
                <a:cubicBezTo>
                  <a:pt x="32" y="476"/>
                  <a:pt x="32" y="476"/>
                  <a:pt x="32" y="476"/>
                </a:cubicBezTo>
                <a:cubicBezTo>
                  <a:pt x="32" y="192"/>
                  <a:pt x="32" y="192"/>
                  <a:pt x="32" y="192"/>
                </a:cubicBezTo>
                <a:cubicBezTo>
                  <a:pt x="80" y="192"/>
                  <a:pt x="80" y="192"/>
                  <a:pt x="80" y="192"/>
                </a:cubicBezTo>
                <a:cubicBezTo>
                  <a:pt x="80" y="452"/>
                  <a:pt x="80" y="452"/>
                  <a:pt x="80" y="452"/>
                </a:cubicBezTo>
                <a:cubicBezTo>
                  <a:pt x="320" y="452"/>
                  <a:pt x="320" y="452"/>
                  <a:pt x="320" y="452"/>
                </a:cubicBezTo>
                <a:lnTo>
                  <a:pt x="320" y="476"/>
                </a:lnTo>
                <a:close/>
                <a:moveTo>
                  <a:pt x="400" y="420"/>
                </a:moveTo>
                <a:cubicBezTo>
                  <a:pt x="112" y="420"/>
                  <a:pt x="112" y="420"/>
                  <a:pt x="112" y="420"/>
                </a:cubicBezTo>
                <a:cubicBezTo>
                  <a:pt x="112" y="136"/>
                  <a:pt x="112" y="136"/>
                  <a:pt x="112" y="136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400" y="32"/>
                  <a:pt x="400" y="32"/>
                  <a:pt x="400" y="32"/>
                </a:cubicBezTo>
                <a:lnTo>
                  <a:pt x="400" y="420"/>
                </a:lnTo>
                <a:close/>
                <a:moveTo>
                  <a:pt x="187" y="201"/>
                </a:moveTo>
                <a:cubicBezTo>
                  <a:pt x="187" y="209"/>
                  <a:pt x="186" y="216"/>
                  <a:pt x="183" y="220"/>
                </a:cubicBezTo>
                <a:cubicBezTo>
                  <a:pt x="180" y="224"/>
                  <a:pt x="175" y="226"/>
                  <a:pt x="170" y="226"/>
                </a:cubicBezTo>
                <a:cubicBezTo>
                  <a:pt x="158" y="226"/>
                  <a:pt x="153" y="218"/>
                  <a:pt x="153" y="202"/>
                </a:cubicBezTo>
                <a:cubicBezTo>
                  <a:pt x="153" y="194"/>
                  <a:pt x="154" y="188"/>
                  <a:pt x="158" y="183"/>
                </a:cubicBezTo>
                <a:cubicBezTo>
                  <a:pt x="161" y="179"/>
                  <a:pt x="165" y="177"/>
                  <a:pt x="171" y="177"/>
                </a:cubicBezTo>
                <a:cubicBezTo>
                  <a:pt x="182" y="177"/>
                  <a:pt x="187" y="185"/>
                  <a:pt x="187" y="201"/>
                </a:cubicBezTo>
                <a:close/>
                <a:moveTo>
                  <a:pt x="177" y="202"/>
                </a:moveTo>
                <a:cubicBezTo>
                  <a:pt x="177" y="191"/>
                  <a:pt x="174" y="185"/>
                  <a:pt x="170" y="185"/>
                </a:cubicBezTo>
                <a:cubicBezTo>
                  <a:pt x="166" y="185"/>
                  <a:pt x="163" y="191"/>
                  <a:pt x="163" y="202"/>
                </a:cubicBezTo>
                <a:cubicBezTo>
                  <a:pt x="163" y="213"/>
                  <a:pt x="166" y="218"/>
                  <a:pt x="170" y="218"/>
                </a:cubicBezTo>
                <a:cubicBezTo>
                  <a:pt x="174" y="218"/>
                  <a:pt x="177" y="213"/>
                  <a:pt x="177" y="202"/>
                </a:cubicBezTo>
                <a:close/>
                <a:moveTo>
                  <a:pt x="229" y="225"/>
                </a:moveTo>
                <a:cubicBezTo>
                  <a:pt x="199" y="225"/>
                  <a:pt x="199" y="225"/>
                  <a:pt x="199" y="225"/>
                </a:cubicBezTo>
                <a:cubicBezTo>
                  <a:pt x="199" y="217"/>
                  <a:pt x="199" y="217"/>
                  <a:pt x="199" y="217"/>
                </a:cubicBezTo>
                <a:cubicBezTo>
                  <a:pt x="209" y="217"/>
                  <a:pt x="209" y="217"/>
                  <a:pt x="209" y="217"/>
                </a:cubicBezTo>
                <a:cubicBezTo>
                  <a:pt x="209" y="187"/>
                  <a:pt x="209" y="187"/>
                  <a:pt x="209" y="187"/>
                </a:cubicBezTo>
                <a:cubicBezTo>
                  <a:pt x="199" y="190"/>
                  <a:pt x="199" y="190"/>
                  <a:pt x="199" y="190"/>
                </a:cubicBezTo>
                <a:cubicBezTo>
                  <a:pt x="199" y="181"/>
                  <a:pt x="199" y="181"/>
                  <a:pt x="199" y="181"/>
                </a:cubicBezTo>
                <a:cubicBezTo>
                  <a:pt x="220" y="177"/>
                  <a:pt x="220" y="177"/>
                  <a:pt x="220" y="177"/>
                </a:cubicBezTo>
                <a:cubicBezTo>
                  <a:pt x="220" y="217"/>
                  <a:pt x="220" y="217"/>
                  <a:pt x="220" y="217"/>
                </a:cubicBezTo>
                <a:cubicBezTo>
                  <a:pt x="229" y="217"/>
                  <a:pt x="229" y="217"/>
                  <a:pt x="229" y="217"/>
                </a:cubicBezTo>
                <a:lnTo>
                  <a:pt x="229" y="225"/>
                </a:lnTo>
                <a:close/>
                <a:moveTo>
                  <a:pt x="273" y="225"/>
                </a:moveTo>
                <a:cubicBezTo>
                  <a:pt x="242" y="225"/>
                  <a:pt x="242" y="225"/>
                  <a:pt x="242" y="225"/>
                </a:cubicBezTo>
                <a:cubicBezTo>
                  <a:pt x="242" y="217"/>
                  <a:pt x="242" y="217"/>
                  <a:pt x="242" y="217"/>
                </a:cubicBezTo>
                <a:cubicBezTo>
                  <a:pt x="252" y="217"/>
                  <a:pt x="252" y="217"/>
                  <a:pt x="252" y="217"/>
                </a:cubicBezTo>
                <a:cubicBezTo>
                  <a:pt x="252" y="187"/>
                  <a:pt x="252" y="187"/>
                  <a:pt x="252" y="187"/>
                </a:cubicBezTo>
                <a:cubicBezTo>
                  <a:pt x="242" y="190"/>
                  <a:pt x="242" y="190"/>
                  <a:pt x="242" y="190"/>
                </a:cubicBezTo>
                <a:cubicBezTo>
                  <a:pt x="242" y="181"/>
                  <a:pt x="242" y="181"/>
                  <a:pt x="242" y="181"/>
                </a:cubicBezTo>
                <a:cubicBezTo>
                  <a:pt x="263" y="177"/>
                  <a:pt x="263" y="177"/>
                  <a:pt x="263" y="177"/>
                </a:cubicBezTo>
                <a:cubicBezTo>
                  <a:pt x="263" y="217"/>
                  <a:pt x="263" y="217"/>
                  <a:pt x="263" y="217"/>
                </a:cubicBezTo>
                <a:cubicBezTo>
                  <a:pt x="273" y="217"/>
                  <a:pt x="273" y="217"/>
                  <a:pt x="273" y="217"/>
                </a:cubicBezTo>
                <a:lnTo>
                  <a:pt x="273" y="225"/>
                </a:lnTo>
                <a:close/>
                <a:moveTo>
                  <a:pt x="317" y="201"/>
                </a:moveTo>
                <a:cubicBezTo>
                  <a:pt x="317" y="209"/>
                  <a:pt x="315" y="216"/>
                  <a:pt x="312" y="220"/>
                </a:cubicBezTo>
                <a:cubicBezTo>
                  <a:pt x="309" y="224"/>
                  <a:pt x="305" y="226"/>
                  <a:pt x="299" y="226"/>
                </a:cubicBezTo>
                <a:cubicBezTo>
                  <a:pt x="288" y="226"/>
                  <a:pt x="282" y="218"/>
                  <a:pt x="282" y="202"/>
                </a:cubicBezTo>
                <a:cubicBezTo>
                  <a:pt x="282" y="194"/>
                  <a:pt x="284" y="188"/>
                  <a:pt x="287" y="183"/>
                </a:cubicBezTo>
                <a:cubicBezTo>
                  <a:pt x="290" y="179"/>
                  <a:pt x="295" y="177"/>
                  <a:pt x="300" y="177"/>
                </a:cubicBezTo>
                <a:cubicBezTo>
                  <a:pt x="311" y="177"/>
                  <a:pt x="317" y="185"/>
                  <a:pt x="317" y="201"/>
                </a:cubicBezTo>
                <a:close/>
                <a:moveTo>
                  <a:pt x="306" y="202"/>
                </a:moveTo>
                <a:cubicBezTo>
                  <a:pt x="306" y="191"/>
                  <a:pt x="304" y="185"/>
                  <a:pt x="300" y="185"/>
                </a:cubicBezTo>
                <a:cubicBezTo>
                  <a:pt x="295" y="185"/>
                  <a:pt x="293" y="191"/>
                  <a:pt x="293" y="202"/>
                </a:cubicBezTo>
                <a:cubicBezTo>
                  <a:pt x="293" y="213"/>
                  <a:pt x="295" y="218"/>
                  <a:pt x="300" y="218"/>
                </a:cubicBezTo>
                <a:cubicBezTo>
                  <a:pt x="304" y="218"/>
                  <a:pt x="306" y="213"/>
                  <a:pt x="306" y="202"/>
                </a:cubicBezTo>
                <a:close/>
                <a:moveTo>
                  <a:pt x="360" y="201"/>
                </a:moveTo>
                <a:cubicBezTo>
                  <a:pt x="360" y="209"/>
                  <a:pt x="359" y="216"/>
                  <a:pt x="355" y="220"/>
                </a:cubicBezTo>
                <a:cubicBezTo>
                  <a:pt x="352" y="224"/>
                  <a:pt x="348" y="226"/>
                  <a:pt x="343" y="226"/>
                </a:cubicBezTo>
                <a:cubicBezTo>
                  <a:pt x="331" y="226"/>
                  <a:pt x="325" y="218"/>
                  <a:pt x="325" y="202"/>
                </a:cubicBezTo>
                <a:cubicBezTo>
                  <a:pt x="325" y="194"/>
                  <a:pt x="327" y="188"/>
                  <a:pt x="330" y="183"/>
                </a:cubicBezTo>
                <a:cubicBezTo>
                  <a:pt x="333" y="179"/>
                  <a:pt x="338" y="177"/>
                  <a:pt x="343" y="177"/>
                </a:cubicBezTo>
                <a:cubicBezTo>
                  <a:pt x="355" y="177"/>
                  <a:pt x="360" y="185"/>
                  <a:pt x="360" y="201"/>
                </a:cubicBezTo>
                <a:close/>
                <a:moveTo>
                  <a:pt x="349" y="202"/>
                </a:moveTo>
                <a:cubicBezTo>
                  <a:pt x="349" y="191"/>
                  <a:pt x="347" y="185"/>
                  <a:pt x="343" y="185"/>
                </a:cubicBezTo>
                <a:cubicBezTo>
                  <a:pt x="338" y="185"/>
                  <a:pt x="336" y="191"/>
                  <a:pt x="336" y="202"/>
                </a:cubicBezTo>
                <a:cubicBezTo>
                  <a:pt x="336" y="213"/>
                  <a:pt x="338" y="218"/>
                  <a:pt x="343" y="218"/>
                </a:cubicBezTo>
                <a:cubicBezTo>
                  <a:pt x="347" y="218"/>
                  <a:pt x="349" y="213"/>
                  <a:pt x="349" y="202"/>
                </a:cubicBezTo>
                <a:close/>
                <a:moveTo>
                  <a:pt x="186" y="302"/>
                </a:moveTo>
                <a:cubicBezTo>
                  <a:pt x="156" y="302"/>
                  <a:pt x="156" y="302"/>
                  <a:pt x="156" y="302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66" y="293"/>
                  <a:pt x="166" y="293"/>
                  <a:pt x="166" y="293"/>
                </a:cubicBezTo>
                <a:cubicBezTo>
                  <a:pt x="166" y="264"/>
                  <a:pt x="166" y="264"/>
                  <a:pt x="166" y="264"/>
                </a:cubicBezTo>
                <a:cubicBezTo>
                  <a:pt x="156" y="266"/>
                  <a:pt x="156" y="266"/>
                  <a:pt x="156" y="266"/>
                </a:cubicBezTo>
                <a:cubicBezTo>
                  <a:pt x="156" y="257"/>
                  <a:pt x="156" y="257"/>
                  <a:pt x="156" y="257"/>
                </a:cubicBezTo>
                <a:cubicBezTo>
                  <a:pt x="176" y="253"/>
                  <a:pt x="176" y="253"/>
                  <a:pt x="176" y="253"/>
                </a:cubicBezTo>
                <a:cubicBezTo>
                  <a:pt x="176" y="293"/>
                  <a:pt x="176" y="293"/>
                  <a:pt x="176" y="293"/>
                </a:cubicBezTo>
                <a:cubicBezTo>
                  <a:pt x="186" y="293"/>
                  <a:pt x="186" y="293"/>
                  <a:pt x="186" y="293"/>
                </a:cubicBezTo>
                <a:lnTo>
                  <a:pt x="186" y="302"/>
                </a:lnTo>
                <a:close/>
                <a:moveTo>
                  <a:pt x="231" y="278"/>
                </a:moveTo>
                <a:cubicBezTo>
                  <a:pt x="231" y="286"/>
                  <a:pt x="229" y="292"/>
                  <a:pt x="226" y="296"/>
                </a:cubicBezTo>
                <a:cubicBezTo>
                  <a:pt x="223" y="301"/>
                  <a:pt x="219" y="303"/>
                  <a:pt x="213" y="303"/>
                </a:cubicBezTo>
                <a:cubicBezTo>
                  <a:pt x="202" y="303"/>
                  <a:pt x="196" y="295"/>
                  <a:pt x="196" y="279"/>
                </a:cubicBezTo>
                <a:cubicBezTo>
                  <a:pt x="196" y="270"/>
                  <a:pt x="198" y="264"/>
                  <a:pt x="201" y="260"/>
                </a:cubicBezTo>
                <a:cubicBezTo>
                  <a:pt x="204" y="255"/>
                  <a:pt x="208" y="253"/>
                  <a:pt x="214" y="253"/>
                </a:cubicBezTo>
                <a:cubicBezTo>
                  <a:pt x="225" y="253"/>
                  <a:pt x="231" y="261"/>
                  <a:pt x="231" y="278"/>
                </a:cubicBezTo>
                <a:close/>
                <a:moveTo>
                  <a:pt x="220" y="278"/>
                </a:moveTo>
                <a:cubicBezTo>
                  <a:pt x="220" y="267"/>
                  <a:pt x="218" y="261"/>
                  <a:pt x="213" y="261"/>
                </a:cubicBezTo>
                <a:cubicBezTo>
                  <a:pt x="209" y="261"/>
                  <a:pt x="207" y="267"/>
                  <a:pt x="207" y="278"/>
                </a:cubicBezTo>
                <a:cubicBezTo>
                  <a:pt x="207" y="289"/>
                  <a:pt x="209" y="295"/>
                  <a:pt x="213" y="295"/>
                </a:cubicBezTo>
                <a:cubicBezTo>
                  <a:pt x="218" y="295"/>
                  <a:pt x="220" y="289"/>
                  <a:pt x="220" y="278"/>
                </a:cubicBezTo>
                <a:close/>
                <a:moveTo>
                  <a:pt x="274" y="278"/>
                </a:moveTo>
                <a:cubicBezTo>
                  <a:pt x="274" y="286"/>
                  <a:pt x="272" y="292"/>
                  <a:pt x="269" y="296"/>
                </a:cubicBezTo>
                <a:cubicBezTo>
                  <a:pt x="266" y="301"/>
                  <a:pt x="262" y="303"/>
                  <a:pt x="256" y="303"/>
                </a:cubicBezTo>
                <a:cubicBezTo>
                  <a:pt x="245" y="303"/>
                  <a:pt x="239" y="295"/>
                  <a:pt x="239" y="279"/>
                </a:cubicBezTo>
                <a:cubicBezTo>
                  <a:pt x="239" y="270"/>
                  <a:pt x="241" y="264"/>
                  <a:pt x="244" y="260"/>
                </a:cubicBezTo>
                <a:cubicBezTo>
                  <a:pt x="247" y="255"/>
                  <a:pt x="251" y="253"/>
                  <a:pt x="257" y="253"/>
                </a:cubicBezTo>
                <a:cubicBezTo>
                  <a:pt x="268" y="253"/>
                  <a:pt x="274" y="261"/>
                  <a:pt x="274" y="278"/>
                </a:cubicBezTo>
                <a:close/>
                <a:moveTo>
                  <a:pt x="263" y="278"/>
                </a:moveTo>
                <a:cubicBezTo>
                  <a:pt x="263" y="267"/>
                  <a:pt x="261" y="261"/>
                  <a:pt x="257" y="261"/>
                </a:cubicBezTo>
                <a:cubicBezTo>
                  <a:pt x="252" y="261"/>
                  <a:pt x="250" y="267"/>
                  <a:pt x="250" y="278"/>
                </a:cubicBezTo>
                <a:cubicBezTo>
                  <a:pt x="250" y="289"/>
                  <a:pt x="252" y="295"/>
                  <a:pt x="256" y="295"/>
                </a:cubicBezTo>
                <a:cubicBezTo>
                  <a:pt x="261" y="295"/>
                  <a:pt x="263" y="289"/>
                  <a:pt x="263" y="278"/>
                </a:cubicBezTo>
                <a:close/>
                <a:moveTo>
                  <a:pt x="316" y="302"/>
                </a:moveTo>
                <a:cubicBezTo>
                  <a:pt x="286" y="302"/>
                  <a:pt x="286" y="302"/>
                  <a:pt x="286" y="302"/>
                </a:cubicBezTo>
                <a:cubicBezTo>
                  <a:pt x="286" y="293"/>
                  <a:pt x="286" y="293"/>
                  <a:pt x="286" y="293"/>
                </a:cubicBezTo>
                <a:cubicBezTo>
                  <a:pt x="296" y="293"/>
                  <a:pt x="296" y="293"/>
                  <a:pt x="296" y="293"/>
                </a:cubicBezTo>
                <a:cubicBezTo>
                  <a:pt x="296" y="264"/>
                  <a:pt x="296" y="264"/>
                  <a:pt x="296" y="264"/>
                </a:cubicBezTo>
                <a:cubicBezTo>
                  <a:pt x="285" y="266"/>
                  <a:pt x="285" y="266"/>
                  <a:pt x="285" y="266"/>
                </a:cubicBezTo>
                <a:cubicBezTo>
                  <a:pt x="285" y="257"/>
                  <a:pt x="285" y="257"/>
                  <a:pt x="285" y="257"/>
                </a:cubicBezTo>
                <a:cubicBezTo>
                  <a:pt x="306" y="253"/>
                  <a:pt x="306" y="253"/>
                  <a:pt x="306" y="253"/>
                </a:cubicBezTo>
                <a:cubicBezTo>
                  <a:pt x="306" y="293"/>
                  <a:pt x="306" y="293"/>
                  <a:pt x="306" y="293"/>
                </a:cubicBezTo>
                <a:cubicBezTo>
                  <a:pt x="316" y="293"/>
                  <a:pt x="316" y="293"/>
                  <a:pt x="316" y="293"/>
                </a:cubicBezTo>
                <a:lnTo>
                  <a:pt x="316" y="302"/>
                </a:lnTo>
                <a:close/>
                <a:moveTo>
                  <a:pt x="360" y="278"/>
                </a:moveTo>
                <a:cubicBezTo>
                  <a:pt x="360" y="286"/>
                  <a:pt x="359" y="292"/>
                  <a:pt x="355" y="296"/>
                </a:cubicBezTo>
                <a:cubicBezTo>
                  <a:pt x="352" y="301"/>
                  <a:pt x="348" y="303"/>
                  <a:pt x="343" y="303"/>
                </a:cubicBezTo>
                <a:cubicBezTo>
                  <a:pt x="331" y="303"/>
                  <a:pt x="325" y="295"/>
                  <a:pt x="325" y="279"/>
                </a:cubicBezTo>
                <a:cubicBezTo>
                  <a:pt x="325" y="270"/>
                  <a:pt x="327" y="264"/>
                  <a:pt x="330" y="260"/>
                </a:cubicBezTo>
                <a:cubicBezTo>
                  <a:pt x="333" y="255"/>
                  <a:pt x="338" y="253"/>
                  <a:pt x="343" y="253"/>
                </a:cubicBezTo>
                <a:cubicBezTo>
                  <a:pt x="355" y="253"/>
                  <a:pt x="360" y="261"/>
                  <a:pt x="360" y="278"/>
                </a:cubicBezTo>
                <a:close/>
                <a:moveTo>
                  <a:pt x="349" y="278"/>
                </a:moveTo>
                <a:cubicBezTo>
                  <a:pt x="349" y="267"/>
                  <a:pt x="347" y="261"/>
                  <a:pt x="343" y="261"/>
                </a:cubicBezTo>
                <a:cubicBezTo>
                  <a:pt x="338" y="261"/>
                  <a:pt x="336" y="267"/>
                  <a:pt x="336" y="278"/>
                </a:cubicBezTo>
                <a:cubicBezTo>
                  <a:pt x="336" y="289"/>
                  <a:pt x="338" y="295"/>
                  <a:pt x="343" y="295"/>
                </a:cubicBezTo>
                <a:cubicBezTo>
                  <a:pt x="347" y="295"/>
                  <a:pt x="349" y="289"/>
                  <a:pt x="349" y="278"/>
                </a:cubicBezTo>
                <a:close/>
                <a:moveTo>
                  <a:pt x="187" y="354"/>
                </a:moveTo>
                <a:cubicBezTo>
                  <a:pt x="187" y="362"/>
                  <a:pt x="186" y="368"/>
                  <a:pt x="183" y="373"/>
                </a:cubicBezTo>
                <a:cubicBezTo>
                  <a:pt x="180" y="377"/>
                  <a:pt x="175" y="379"/>
                  <a:pt x="170" y="379"/>
                </a:cubicBezTo>
                <a:cubicBezTo>
                  <a:pt x="158" y="379"/>
                  <a:pt x="153" y="371"/>
                  <a:pt x="153" y="355"/>
                </a:cubicBezTo>
                <a:cubicBezTo>
                  <a:pt x="153" y="347"/>
                  <a:pt x="154" y="340"/>
                  <a:pt x="158" y="336"/>
                </a:cubicBezTo>
                <a:cubicBezTo>
                  <a:pt x="161" y="332"/>
                  <a:pt x="165" y="330"/>
                  <a:pt x="171" y="330"/>
                </a:cubicBezTo>
                <a:cubicBezTo>
                  <a:pt x="182" y="330"/>
                  <a:pt x="187" y="338"/>
                  <a:pt x="187" y="354"/>
                </a:cubicBezTo>
                <a:close/>
                <a:moveTo>
                  <a:pt x="177" y="354"/>
                </a:moveTo>
                <a:cubicBezTo>
                  <a:pt x="177" y="343"/>
                  <a:pt x="174" y="338"/>
                  <a:pt x="170" y="338"/>
                </a:cubicBezTo>
                <a:cubicBezTo>
                  <a:pt x="166" y="338"/>
                  <a:pt x="163" y="343"/>
                  <a:pt x="163" y="355"/>
                </a:cubicBezTo>
                <a:cubicBezTo>
                  <a:pt x="163" y="365"/>
                  <a:pt x="166" y="371"/>
                  <a:pt x="170" y="371"/>
                </a:cubicBezTo>
                <a:cubicBezTo>
                  <a:pt x="174" y="371"/>
                  <a:pt x="177" y="365"/>
                  <a:pt x="177" y="354"/>
                </a:cubicBezTo>
                <a:close/>
                <a:moveTo>
                  <a:pt x="231" y="354"/>
                </a:moveTo>
                <a:cubicBezTo>
                  <a:pt x="231" y="362"/>
                  <a:pt x="229" y="368"/>
                  <a:pt x="226" y="373"/>
                </a:cubicBezTo>
                <a:cubicBezTo>
                  <a:pt x="223" y="377"/>
                  <a:pt x="219" y="379"/>
                  <a:pt x="213" y="379"/>
                </a:cubicBezTo>
                <a:cubicBezTo>
                  <a:pt x="202" y="379"/>
                  <a:pt x="196" y="371"/>
                  <a:pt x="196" y="355"/>
                </a:cubicBezTo>
                <a:cubicBezTo>
                  <a:pt x="196" y="347"/>
                  <a:pt x="198" y="340"/>
                  <a:pt x="201" y="336"/>
                </a:cubicBezTo>
                <a:cubicBezTo>
                  <a:pt x="204" y="332"/>
                  <a:pt x="208" y="330"/>
                  <a:pt x="214" y="330"/>
                </a:cubicBezTo>
                <a:cubicBezTo>
                  <a:pt x="225" y="330"/>
                  <a:pt x="231" y="338"/>
                  <a:pt x="231" y="354"/>
                </a:cubicBezTo>
                <a:close/>
                <a:moveTo>
                  <a:pt x="220" y="354"/>
                </a:moveTo>
                <a:cubicBezTo>
                  <a:pt x="220" y="343"/>
                  <a:pt x="218" y="338"/>
                  <a:pt x="213" y="338"/>
                </a:cubicBezTo>
                <a:cubicBezTo>
                  <a:pt x="209" y="338"/>
                  <a:pt x="207" y="343"/>
                  <a:pt x="207" y="355"/>
                </a:cubicBezTo>
                <a:cubicBezTo>
                  <a:pt x="207" y="365"/>
                  <a:pt x="209" y="371"/>
                  <a:pt x="213" y="371"/>
                </a:cubicBezTo>
                <a:cubicBezTo>
                  <a:pt x="218" y="371"/>
                  <a:pt x="220" y="365"/>
                  <a:pt x="220" y="354"/>
                </a:cubicBezTo>
                <a:close/>
                <a:moveTo>
                  <a:pt x="273" y="378"/>
                </a:moveTo>
                <a:cubicBezTo>
                  <a:pt x="242" y="378"/>
                  <a:pt x="242" y="378"/>
                  <a:pt x="242" y="378"/>
                </a:cubicBezTo>
                <a:cubicBezTo>
                  <a:pt x="242" y="370"/>
                  <a:pt x="242" y="370"/>
                  <a:pt x="242" y="370"/>
                </a:cubicBezTo>
                <a:cubicBezTo>
                  <a:pt x="252" y="370"/>
                  <a:pt x="252" y="370"/>
                  <a:pt x="252" y="370"/>
                </a:cubicBezTo>
                <a:cubicBezTo>
                  <a:pt x="252" y="340"/>
                  <a:pt x="252" y="340"/>
                  <a:pt x="252" y="340"/>
                </a:cubicBezTo>
                <a:cubicBezTo>
                  <a:pt x="242" y="342"/>
                  <a:pt x="242" y="342"/>
                  <a:pt x="242" y="342"/>
                </a:cubicBezTo>
                <a:cubicBezTo>
                  <a:pt x="242" y="334"/>
                  <a:pt x="242" y="334"/>
                  <a:pt x="242" y="334"/>
                </a:cubicBezTo>
                <a:cubicBezTo>
                  <a:pt x="263" y="330"/>
                  <a:pt x="263" y="330"/>
                  <a:pt x="263" y="330"/>
                </a:cubicBezTo>
                <a:cubicBezTo>
                  <a:pt x="263" y="370"/>
                  <a:pt x="263" y="370"/>
                  <a:pt x="263" y="370"/>
                </a:cubicBezTo>
                <a:cubicBezTo>
                  <a:pt x="273" y="370"/>
                  <a:pt x="273" y="370"/>
                  <a:pt x="273" y="370"/>
                </a:cubicBezTo>
                <a:lnTo>
                  <a:pt x="273" y="378"/>
                </a:lnTo>
                <a:close/>
                <a:moveTo>
                  <a:pt x="317" y="354"/>
                </a:moveTo>
                <a:cubicBezTo>
                  <a:pt x="317" y="362"/>
                  <a:pt x="315" y="368"/>
                  <a:pt x="312" y="373"/>
                </a:cubicBezTo>
                <a:cubicBezTo>
                  <a:pt x="309" y="377"/>
                  <a:pt x="305" y="379"/>
                  <a:pt x="299" y="379"/>
                </a:cubicBezTo>
                <a:cubicBezTo>
                  <a:pt x="288" y="379"/>
                  <a:pt x="282" y="371"/>
                  <a:pt x="282" y="355"/>
                </a:cubicBezTo>
                <a:cubicBezTo>
                  <a:pt x="282" y="347"/>
                  <a:pt x="284" y="340"/>
                  <a:pt x="287" y="336"/>
                </a:cubicBezTo>
                <a:cubicBezTo>
                  <a:pt x="290" y="332"/>
                  <a:pt x="295" y="330"/>
                  <a:pt x="300" y="330"/>
                </a:cubicBezTo>
                <a:cubicBezTo>
                  <a:pt x="311" y="330"/>
                  <a:pt x="317" y="338"/>
                  <a:pt x="317" y="354"/>
                </a:cubicBezTo>
                <a:close/>
                <a:moveTo>
                  <a:pt x="306" y="354"/>
                </a:moveTo>
                <a:cubicBezTo>
                  <a:pt x="306" y="343"/>
                  <a:pt x="304" y="338"/>
                  <a:pt x="300" y="338"/>
                </a:cubicBezTo>
                <a:cubicBezTo>
                  <a:pt x="295" y="338"/>
                  <a:pt x="293" y="343"/>
                  <a:pt x="293" y="355"/>
                </a:cubicBezTo>
                <a:cubicBezTo>
                  <a:pt x="293" y="365"/>
                  <a:pt x="295" y="371"/>
                  <a:pt x="300" y="371"/>
                </a:cubicBezTo>
                <a:cubicBezTo>
                  <a:pt x="304" y="371"/>
                  <a:pt x="306" y="365"/>
                  <a:pt x="306" y="354"/>
                </a:cubicBezTo>
                <a:close/>
                <a:moveTo>
                  <a:pt x="359" y="378"/>
                </a:moveTo>
                <a:cubicBezTo>
                  <a:pt x="329" y="378"/>
                  <a:pt x="329" y="378"/>
                  <a:pt x="329" y="378"/>
                </a:cubicBezTo>
                <a:cubicBezTo>
                  <a:pt x="329" y="370"/>
                  <a:pt x="329" y="370"/>
                  <a:pt x="329" y="370"/>
                </a:cubicBezTo>
                <a:cubicBezTo>
                  <a:pt x="339" y="370"/>
                  <a:pt x="339" y="370"/>
                  <a:pt x="339" y="370"/>
                </a:cubicBezTo>
                <a:cubicBezTo>
                  <a:pt x="339" y="340"/>
                  <a:pt x="339" y="340"/>
                  <a:pt x="339" y="340"/>
                </a:cubicBezTo>
                <a:cubicBezTo>
                  <a:pt x="329" y="342"/>
                  <a:pt x="329" y="342"/>
                  <a:pt x="329" y="342"/>
                </a:cubicBezTo>
                <a:cubicBezTo>
                  <a:pt x="329" y="334"/>
                  <a:pt x="329" y="334"/>
                  <a:pt x="329" y="334"/>
                </a:cubicBezTo>
                <a:cubicBezTo>
                  <a:pt x="349" y="330"/>
                  <a:pt x="349" y="330"/>
                  <a:pt x="349" y="330"/>
                </a:cubicBezTo>
                <a:cubicBezTo>
                  <a:pt x="349" y="370"/>
                  <a:pt x="349" y="370"/>
                  <a:pt x="349" y="370"/>
                </a:cubicBezTo>
                <a:cubicBezTo>
                  <a:pt x="359" y="370"/>
                  <a:pt x="359" y="370"/>
                  <a:pt x="359" y="370"/>
                </a:cubicBezTo>
                <a:lnTo>
                  <a:pt x="359" y="3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169862" y="3514576"/>
            <a:ext cx="1749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子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服务器功能重构，包括缓存，下发，同步等，并集成目前的平台类产品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8753097" y="2103660"/>
            <a:ext cx="1080000" cy="1080000"/>
            <a:chOff x="6687403" y="2019253"/>
            <a:chExt cx="1080000" cy="1080000"/>
          </a:xfrm>
        </p:grpSpPr>
        <p:sp>
          <p:nvSpPr>
            <p:cNvPr id="21" name="Rectangle 51"/>
            <p:cNvSpPr/>
            <p:nvPr/>
          </p:nvSpPr>
          <p:spPr>
            <a:xfrm rot="2777540">
              <a:off x="6687403" y="2019253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" name="Rounded Rectangle 100"/>
            <p:cNvSpPr/>
            <p:nvPr>
              <p:custDataLst>
                <p:tags r:id="rId1"/>
              </p:custDataLst>
            </p:nvPr>
          </p:nvSpPr>
          <p:spPr bwMode="auto">
            <a:xfrm>
              <a:off x="6892964" y="2308125"/>
              <a:ext cx="720080" cy="502257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12" tIns="46607" rIns="46607" bIns="93212" numCol="1" spcCol="0" rtlCol="0" fromWordArt="0" anchor="b" anchorCtr="0" forceAA="0" compatLnSpc="1">
              <a:noAutofit/>
            </a:bodyPr>
            <a:lstStyle/>
            <a:p>
              <a:pPr marL="0" marR="0" lvl="0" indent="0" algn="ctr" defTabSz="931545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-51" normalizeH="0" baseline="0" noProof="0" dirty="0" err="1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25" name="直接连接符 24"/>
          <p:cNvCxnSpPr/>
          <p:nvPr/>
        </p:nvCxnSpPr>
        <p:spPr bwMode="auto">
          <a:xfrm flipV="1">
            <a:off x="6738222" y="2613810"/>
            <a:ext cx="1791393" cy="842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60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文本框 25"/>
          <p:cNvSpPr txBox="1"/>
          <p:nvPr/>
        </p:nvSpPr>
        <p:spPr>
          <a:xfrm>
            <a:off x="8529615" y="3561372"/>
            <a:ext cx="1749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子服务器和主服务器同步功能重构，子服务器转变角色为数据缓冲区和数据通道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562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二期规划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776" y="1243285"/>
            <a:ext cx="10255348" cy="490429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562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三期规划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3548" y="1223889"/>
            <a:ext cx="9175775" cy="499403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4525" y="395785"/>
            <a:ext cx="56228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平台支撑服务模式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064525" y="2715065"/>
            <a:ext cx="926018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rgbClr val="FF6064"/>
                </a:solidFill>
                <a:latin typeface="微软雅黑" pitchFamily="34" charset="-122"/>
                <a:ea typeface="微软雅黑" pitchFamily="34" charset="-122"/>
              </a:rPr>
              <a:t>通过平台提供的数据，资源以及门户的宣传推广支撑整个应用服务的运行</a:t>
            </a:r>
            <a:endParaRPr lang="zh-CN" altLang="en-US" sz="4400" b="1" dirty="0">
              <a:solidFill>
                <a:srgbClr val="FF6064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11" descr="C:\Users\zhangkk\Desktop\edu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组合 10"/>
          <p:cNvGrpSpPr/>
          <p:nvPr/>
        </p:nvGrpSpPr>
        <p:grpSpPr>
          <a:xfrm>
            <a:off x="1499058" y="1640128"/>
            <a:ext cx="1009067" cy="1007068"/>
            <a:chOff x="4973773" y="2054751"/>
            <a:chExt cx="1080000" cy="1080000"/>
          </a:xfrm>
        </p:grpSpPr>
        <p:sp>
          <p:nvSpPr>
            <p:cNvPr id="12" name="Rectangle 51"/>
            <p:cNvSpPr/>
            <p:nvPr/>
          </p:nvSpPr>
          <p:spPr>
            <a:xfrm>
              <a:off x="4973773" y="2054751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14" name="Picture 24" descr="W:\Open Engagements\Productivity\MS-Unified Communications\#1601 BizProd MOD Team Core Content Work\New Iconography\Words\Draft\061312_Word_Icons\Tools_061312_white-04.pn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5163403" y="2245075"/>
              <a:ext cx="700741" cy="699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1"/>
          <p:cNvSpPr txBox="1"/>
          <p:nvPr/>
        </p:nvSpPr>
        <p:spPr>
          <a:xfrm>
            <a:off x="1064525" y="395785"/>
            <a:ext cx="39032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当前的云服务器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3215314" y="3129433"/>
            <a:ext cx="1009067" cy="1007068"/>
            <a:chOff x="7884488" y="339622"/>
            <a:chExt cx="1080000" cy="1080000"/>
          </a:xfrm>
        </p:grpSpPr>
        <p:sp>
          <p:nvSpPr>
            <p:cNvPr id="16" name="Rectangle 51"/>
            <p:cNvSpPr/>
            <p:nvPr/>
          </p:nvSpPr>
          <p:spPr>
            <a:xfrm>
              <a:off x="7884488" y="339622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17" name="Picture 17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058132" y="557882"/>
              <a:ext cx="813691" cy="643480"/>
            </a:xfrm>
            <a:prstGeom prst="rect">
              <a:avLst/>
            </a:prstGeom>
          </p:spPr>
        </p:pic>
      </p:grpSp>
      <p:sp>
        <p:nvSpPr>
          <p:cNvPr id="18" name="TextBox 11"/>
          <p:cNvSpPr txBox="1"/>
          <p:nvPr/>
        </p:nvSpPr>
        <p:spPr>
          <a:xfrm>
            <a:off x="2905049" y="1820497"/>
            <a:ext cx="3903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APK</a:t>
            </a:r>
            <a:r>
              <a:rPr lang="zh-CN" altLang="en-US" sz="36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更新管理</a:t>
            </a:r>
            <a:endParaRPr lang="zh-CN" altLang="en-US" sz="36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Box 11"/>
          <p:cNvSpPr txBox="1"/>
          <p:nvPr/>
        </p:nvSpPr>
        <p:spPr>
          <a:xfrm>
            <a:off x="4761983" y="3309802"/>
            <a:ext cx="3903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活跃数收集</a:t>
            </a:r>
          </a:p>
        </p:txBody>
      </p:sp>
      <p:sp>
        <p:nvSpPr>
          <p:cNvPr id="23" name="TextBox 11"/>
          <p:cNvSpPr txBox="1"/>
          <p:nvPr/>
        </p:nvSpPr>
        <p:spPr>
          <a:xfrm>
            <a:off x="6630643" y="4854899"/>
            <a:ext cx="3903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360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大赛发布及成绩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5155932" y="4674530"/>
            <a:ext cx="1009067" cy="1007068"/>
            <a:chOff x="2795922" y="2643878"/>
            <a:chExt cx="1080000" cy="1080000"/>
          </a:xfrm>
        </p:grpSpPr>
        <p:sp>
          <p:nvSpPr>
            <p:cNvPr id="24" name="Rectangle 51"/>
            <p:cNvSpPr/>
            <p:nvPr/>
          </p:nvSpPr>
          <p:spPr>
            <a:xfrm>
              <a:off x="2795922" y="2643878"/>
              <a:ext cx="1080000" cy="1080000"/>
            </a:xfrm>
            <a:prstGeom prst="rect">
              <a:avLst/>
            </a:prstGeom>
            <a:solidFill>
              <a:srgbClr val="FF6064"/>
            </a:solidFill>
            <a:ln w="25400" cap="flat" cmpd="sng" algn="ctr">
              <a:noFill/>
              <a:prstDash val="solid"/>
            </a:ln>
            <a:effectLst/>
          </p:spPr>
          <p:txBody>
            <a:bodyPr lIns="91427" tIns="91427" rIns="91427" bIns="91427"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25" name="Picture 14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30670" y="2931716"/>
              <a:ext cx="610502" cy="62406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11" descr="C:\Users\zhangkk\Desktop\edu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1"/>
          <p:cNvSpPr txBox="1"/>
          <p:nvPr/>
        </p:nvSpPr>
        <p:spPr>
          <a:xfrm>
            <a:off x="1064524" y="395785"/>
            <a:ext cx="100038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当前的云服务器的问题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活跃数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19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9164" y="2052921"/>
            <a:ext cx="3154680" cy="3531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97" name="TextBox 25"/>
          <p:cNvSpPr txBox="1"/>
          <p:nvPr/>
        </p:nvSpPr>
        <p:spPr>
          <a:xfrm>
            <a:off x="723337" y="2313294"/>
            <a:ext cx="4026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rPr>
              <a:t>学生填写的信息不准确</a:t>
            </a:r>
            <a:endParaRPr lang="zh-CN" altLang="en-US" sz="2400" dirty="0">
              <a:solidFill>
                <a:srgbClr val="AAA8A4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99" name="TextBox 25"/>
          <p:cNvSpPr txBox="1"/>
          <p:nvPr/>
        </p:nvSpPr>
        <p:spPr>
          <a:xfrm>
            <a:off x="723336" y="4676631"/>
            <a:ext cx="4026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rPr>
              <a:t>学校网络环境不满足</a:t>
            </a:r>
            <a:endParaRPr lang="zh-CN" altLang="en-US" sz="2400" dirty="0">
              <a:solidFill>
                <a:srgbClr val="AAA8A4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00" name="TextBox 25"/>
          <p:cNvSpPr txBox="1"/>
          <p:nvPr/>
        </p:nvSpPr>
        <p:spPr>
          <a:xfrm>
            <a:off x="7658673" y="2313294"/>
            <a:ext cx="4026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rPr>
              <a:t>一键注册技术架构不合理</a:t>
            </a:r>
            <a:endParaRPr lang="zh-CN" altLang="en-US" sz="2400" dirty="0">
              <a:solidFill>
                <a:srgbClr val="AAA8A4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01" name="TextBox 25"/>
          <p:cNvSpPr txBox="1"/>
          <p:nvPr/>
        </p:nvSpPr>
        <p:spPr>
          <a:xfrm>
            <a:off x="7658672" y="4445798"/>
            <a:ext cx="4026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rPr>
              <a:t>无法提供业务人员查询</a:t>
            </a:r>
            <a:endParaRPr lang="zh-CN" altLang="en-US" sz="2400" dirty="0">
              <a:solidFill>
                <a:srgbClr val="AAA8A4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11" descr="C:\Users\zhangkk\Desktop\edu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1"/>
          <p:cNvSpPr txBox="1"/>
          <p:nvPr/>
        </p:nvSpPr>
        <p:spPr>
          <a:xfrm>
            <a:off x="1064524" y="395785"/>
            <a:ext cx="76152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当前的云服务器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技术架构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22712" y="1675833"/>
            <a:ext cx="3337560" cy="3749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5" name="组合 4"/>
          <p:cNvGrpSpPr/>
          <p:nvPr/>
        </p:nvGrpSpPr>
        <p:grpSpPr>
          <a:xfrm>
            <a:off x="7317480" y="1926609"/>
            <a:ext cx="2754569" cy="1151300"/>
            <a:chOff x="7208296" y="1926609"/>
            <a:chExt cx="2754569" cy="1151300"/>
          </a:xfrm>
        </p:grpSpPr>
        <p:sp>
          <p:nvSpPr>
            <p:cNvPr id="6" name="TextBox 19"/>
            <p:cNvSpPr txBox="1"/>
            <p:nvPr/>
          </p:nvSpPr>
          <p:spPr>
            <a:xfrm>
              <a:off x="7208296" y="1926609"/>
              <a:ext cx="22359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dirty="0" smtClean="0">
                  <a:solidFill>
                    <a:srgbClr val="514F5D"/>
                  </a:solidFill>
                  <a:latin typeface="微软雅黑" pitchFamily="34" charset="-122"/>
                  <a:ea typeface="微软雅黑" pitchFamily="34" charset="-122"/>
                </a:rPr>
                <a:t>前端</a:t>
              </a:r>
              <a:endParaRPr lang="zh-CN" altLang="en-US" sz="24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TextBox 20"/>
            <p:cNvSpPr txBox="1"/>
            <p:nvPr/>
          </p:nvSpPr>
          <p:spPr>
            <a:xfrm>
              <a:off x="7221942" y="2431578"/>
              <a:ext cx="274092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solidFill>
                    <a:srgbClr val="AAA8A4"/>
                  </a:solidFill>
                  <a:latin typeface="微软雅黑" pitchFamily="34" charset="-122"/>
                  <a:ea typeface="微软雅黑" pitchFamily="34" charset="-122"/>
                </a:rPr>
                <a:t>设计未经过合理计划，无法做到易用</a:t>
              </a:r>
              <a:endParaRPr lang="zh-CN" altLang="en-US" dirty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7319752" y="3798657"/>
            <a:ext cx="2754569" cy="1151300"/>
            <a:chOff x="7208296" y="1926609"/>
            <a:chExt cx="2754569" cy="1151300"/>
          </a:xfrm>
        </p:grpSpPr>
        <p:sp>
          <p:nvSpPr>
            <p:cNvPr id="9" name="TextBox 23"/>
            <p:cNvSpPr txBox="1"/>
            <p:nvPr/>
          </p:nvSpPr>
          <p:spPr>
            <a:xfrm>
              <a:off x="7208296" y="1926609"/>
              <a:ext cx="22359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dirty="0" smtClean="0">
                  <a:solidFill>
                    <a:srgbClr val="514F5D"/>
                  </a:solidFill>
                  <a:latin typeface="微软雅黑" pitchFamily="34" charset="-122"/>
                  <a:ea typeface="微软雅黑" pitchFamily="34" charset="-122"/>
                </a:rPr>
                <a:t>扩展</a:t>
              </a:r>
              <a:endParaRPr lang="zh-CN" altLang="en-US" sz="24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TextBox 24"/>
            <p:cNvSpPr txBox="1"/>
            <p:nvPr/>
          </p:nvSpPr>
          <p:spPr>
            <a:xfrm>
              <a:off x="7221942" y="2431578"/>
              <a:ext cx="274092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solidFill>
                    <a:srgbClr val="AAA8A4"/>
                  </a:solidFill>
                  <a:latin typeface="微软雅黑" pitchFamily="34" charset="-122"/>
                  <a:ea typeface="微软雅黑" pitchFamily="34" charset="-122"/>
                </a:rPr>
                <a:t>健壮性较差，无法进行二次开发及扩展</a:t>
              </a:r>
              <a:endParaRPr lang="zh-CN" altLang="en-US" dirty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959784" y="3812305"/>
            <a:ext cx="2754569" cy="874301"/>
            <a:chOff x="7208296" y="1926609"/>
            <a:chExt cx="2754569" cy="874301"/>
          </a:xfrm>
        </p:grpSpPr>
        <p:sp>
          <p:nvSpPr>
            <p:cNvPr id="12" name="TextBox 26"/>
            <p:cNvSpPr txBox="1"/>
            <p:nvPr/>
          </p:nvSpPr>
          <p:spPr>
            <a:xfrm>
              <a:off x="7208296" y="1926609"/>
              <a:ext cx="22359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dirty="0" smtClean="0">
                  <a:solidFill>
                    <a:srgbClr val="514F5D"/>
                  </a:solidFill>
                  <a:latin typeface="微软雅黑" pitchFamily="34" charset="-122"/>
                  <a:ea typeface="微软雅黑" pitchFamily="34" charset="-122"/>
                </a:rPr>
                <a:t>业务</a:t>
              </a:r>
              <a:endParaRPr lang="zh-CN" altLang="en-US" sz="24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TextBox 27"/>
            <p:cNvSpPr txBox="1"/>
            <p:nvPr/>
          </p:nvSpPr>
          <p:spPr>
            <a:xfrm>
              <a:off x="7221942" y="2431578"/>
              <a:ext cx="27409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solidFill>
                    <a:srgbClr val="AAA8A4"/>
                  </a:solidFill>
                  <a:latin typeface="微软雅黑" pitchFamily="34" charset="-122"/>
                  <a:ea typeface="微软雅黑" pitchFamily="34" charset="-122"/>
                </a:rPr>
                <a:t>无法拆分业务场景</a:t>
              </a:r>
              <a:endParaRPr lang="zh-CN" altLang="en-US" dirty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975704" y="1999393"/>
            <a:ext cx="2754569" cy="874301"/>
            <a:chOff x="7208296" y="1926609"/>
            <a:chExt cx="2754569" cy="874301"/>
          </a:xfrm>
        </p:grpSpPr>
        <p:sp>
          <p:nvSpPr>
            <p:cNvPr id="16" name="TextBox 29"/>
            <p:cNvSpPr txBox="1"/>
            <p:nvPr/>
          </p:nvSpPr>
          <p:spPr>
            <a:xfrm>
              <a:off x="7208296" y="1926609"/>
              <a:ext cx="22359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dirty="0" smtClean="0">
                  <a:solidFill>
                    <a:srgbClr val="514F5D"/>
                  </a:solidFill>
                  <a:latin typeface="微软雅黑" pitchFamily="34" charset="-122"/>
                  <a:ea typeface="微软雅黑" pitchFamily="34" charset="-122"/>
                </a:rPr>
                <a:t>数据库</a:t>
              </a:r>
              <a:endParaRPr lang="zh-CN" altLang="en-US" sz="24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TextBox 30"/>
            <p:cNvSpPr txBox="1"/>
            <p:nvPr/>
          </p:nvSpPr>
          <p:spPr>
            <a:xfrm>
              <a:off x="7221942" y="2431578"/>
              <a:ext cx="27409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solidFill>
                    <a:srgbClr val="AAA8A4"/>
                  </a:solidFill>
                  <a:latin typeface="微软雅黑" pitchFamily="34" charset="-122"/>
                  <a:ea typeface="微软雅黑" pitchFamily="34" charset="-122"/>
                </a:rPr>
                <a:t>一范式表设计非常不合理</a:t>
              </a:r>
              <a:endParaRPr lang="zh-CN" altLang="en-US" dirty="0">
                <a:solidFill>
                  <a:srgbClr val="AAA8A4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11" descr="C:\Users\zhangkk\Desktop\edu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1"/>
          <p:cNvSpPr txBox="1"/>
          <p:nvPr/>
        </p:nvSpPr>
        <p:spPr>
          <a:xfrm>
            <a:off x="1064524" y="395785"/>
            <a:ext cx="100038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当前的云服务器的问题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应用场景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9" name="Picture 2" descr="C:\Users\Cowala\Desktop\3d\Comp_801006018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24" y="2009633"/>
            <a:ext cx="3742519" cy="3742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1"/>
          <p:cNvSpPr txBox="1"/>
          <p:nvPr/>
        </p:nvSpPr>
        <p:spPr>
          <a:xfrm>
            <a:off x="4940490" y="3335398"/>
            <a:ext cx="67556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服务器到底要做什么用？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064524" y="395785"/>
            <a:ext cx="100038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服务器可以做什么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用户分析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143" y="1186751"/>
            <a:ext cx="10085714" cy="1333333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143" y="2511330"/>
            <a:ext cx="10085714" cy="428571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3178" y="2834010"/>
            <a:ext cx="10171428" cy="33839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064524" y="395785"/>
            <a:ext cx="100038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服务器可以做什么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使用</a:t>
            </a:r>
            <a:r>
              <a:rPr lang="zh-CN" altLang="en-US" sz="4000" dirty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524" y="1385156"/>
            <a:ext cx="6028571" cy="220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0593" y="1385157"/>
            <a:ext cx="4213050" cy="220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37938" y="3718645"/>
            <a:ext cx="9761905" cy="24992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064524" y="395785"/>
            <a:ext cx="100038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服务器可以做什么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资源库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0935" y="1210756"/>
            <a:ext cx="5477809" cy="502580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1" descr="C:\Users\zhangkk\Desktop\edu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8138" y="114300"/>
            <a:ext cx="1593850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文本框 41"/>
          <p:cNvSpPr txBox="1">
            <a:spLocks noChangeArrowheads="1"/>
          </p:cNvSpPr>
          <p:nvPr/>
        </p:nvSpPr>
        <p:spPr bwMode="auto">
          <a:xfrm>
            <a:off x="3740150" y="6343650"/>
            <a:ext cx="44751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连爱丁数码产品有限公司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064524" y="395785"/>
            <a:ext cx="100038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云服务器可以做什么</a:t>
            </a:r>
            <a:r>
              <a:rPr lang="en-US" altLang="zh-CN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4000" dirty="0" smtClean="0">
                <a:solidFill>
                  <a:srgbClr val="514F5D"/>
                </a:solidFill>
                <a:latin typeface="微软雅黑" pitchFamily="34" charset="-122"/>
                <a:ea typeface="微软雅黑" pitchFamily="34" charset="-122"/>
              </a:rPr>
              <a:t>门户</a:t>
            </a:r>
            <a:endParaRPr lang="zh-CN" altLang="en-US" sz="4000" dirty="0">
              <a:solidFill>
                <a:srgbClr val="514F5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393" y="1385156"/>
            <a:ext cx="7790476" cy="46190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CkXd2zmUu6M0t0EYUv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CkXd2zmUu6M0t0EYUv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CkXd2zmUu6M0t0EYUvXQ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 主题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FFFFFF"/>
      </a:accent3>
      <a:accent4>
        <a:srgbClr val="000000"/>
      </a:accent4>
      <a:accent5>
        <a:srgbClr val="B5CBE7"/>
      </a:accent5>
      <a:accent6>
        <a:srgbClr val="D7712B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宋体" pitchFamily="2" charset="-122"/>
          </a:defRPr>
        </a:defPPr>
      </a:lstStyle>
    </a:lnDef>
  </a:objectDefaults>
  <a:extraClrSchemeLst>
    <a:extraClrScheme>
      <a:clrScheme name="Office 主题 1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FFFFFF"/>
        </a:accent3>
        <a:accent4>
          <a:srgbClr val="000000"/>
        </a:accent4>
        <a:accent5>
          <a:srgbClr val="B5CBE7"/>
        </a:accent5>
        <a:accent6>
          <a:srgbClr val="D7712B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588</Words>
  <Application>Microsoft Office PowerPoint</Application>
  <PresentationFormat>宽屏</PresentationFormat>
  <Paragraphs>146</Paragraphs>
  <Slides>18</Slides>
  <Notes>13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8</vt:i4>
      </vt:variant>
    </vt:vector>
  </HeadingPairs>
  <TitlesOfParts>
    <vt:vector size="28" baseType="lpstr">
      <vt:lpstr>黑体</vt:lpstr>
      <vt:lpstr>宋体</vt:lpstr>
      <vt:lpstr>微软雅黑</vt:lpstr>
      <vt:lpstr>Arial</vt:lpstr>
      <vt:lpstr>Calibri</vt:lpstr>
      <vt:lpstr>Calibri Light</vt:lpstr>
      <vt:lpstr>Segoe UI</vt:lpstr>
      <vt:lpstr>Times New Roman</vt:lpstr>
      <vt:lpstr>自定义设计方案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D13001</dc:creator>
  <cp:lastModifiedBy>Jacob Wu</cp:lastModifiedBy>
  <cp:revision>410</cp:revision>
  <dcterms:created xsi:type="dcterms:W3CDTF">2013-11-26T02:18:00Z</dcterms:created>
  <dcterms:modified xsi:type="dcterms:W3CDTF">2016-02-19T02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458</vt:lpwstr>
  </property>
</Properties>
</file>